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90" r:id="rId3"/>
    <p:sldMasterId id="2147483693" r:id="rId4"/>
    <p:sldMasterId id="2147483697" r:id="rId5"/>
    <p:sldMasterId id="2147483711" r:id="rId6"/>
    <p:sldMasterId id="2147483715" r:id="rId7"/>
    <p:sldMasterId id="2147483728" r:id="rId8"/>
    <p:sldMasterId id="2147483741" r:id="rId9"/>
  </p:sldMasterIdLst>
  <p:notesMasterIdLst>
    <p:notesMasterId r:id="rId48"/>
  </p:notesMasterIdLst>
  <p:handoutMasterIdLst>
    <p:handoutMasterId r:id="rId49"/>
  </p:handoutMasterIdLst>
  <p:sldIdLst>
    <p:sldId id="256" r:id="rId10"/>
    <p:sldId id="2247" r:id="rId11"/>
    <p:sldId id="2248" r:id="rId12"/>
    <p:sldId id="1339" r:id="rId13"/>
    <p:sldId id="2277" r:id="rId14"/>
    <p:sldId id="2273" r:id="rId15"/>
    <p:sldId id="2271" r:id="rId16"/>
    <p:sldId id="298" r:id="rId17"/>
    <p:sldId id="2276" r:id="rId18"/>
    <p:sldId id="457" r:id="rId19"/>
    <p:sldId id="300" r:id="rId20"/>
    <p:sldId id="2272" r:id="rId21"/>
    <p:sldId id="278" r:id="rId22"/>
    <p:sldId id="2255" r:id="rId23"/>
    <p:sldId id="2274" r:id="rId24"/>
    <p:sldId id="269" r:id="rId25"/>
    <p:sldId id="270" r:id="rId26"/>
    <p:sldId id="306" r:id="rId27"/>
    <p:sldId id="341" r:id="rId28"/>
    <p:sldId id="288" r:id="rId29"/>
    <p:sldId id="322" r:id="rId30"/>
    <p:sldId id="2281" r:id="rId31"/>
    <p:sldId id="347" r:id="rId32"/>
    <p:sldId id="2282" r:id="rId33"/>
    <p:sldId id="302" r:id="rId34"/>
    <p:sldId id="2275" r:id="rId35"/>
    <p:sldId id="284" r:id="rId36"/>
    <p:sldId id="295" r:id="rId37"/>
    <p:sldId id="311" r:id="rId38"/>
    <p:sldId id="399" r:id="rId39"/>
    <p:sldId id="257" r:id="rId40"/>
    <p:sldId id="258" r:id="rId41"/>
    <p:sldId id="2279" r:id="rId42"/>
    <p:sldId id="259" r:id="rId43"/>
    <p:sldId id="274" r:id="rId44"/>
    <p:sldId id="2283" r:id="rId45"/>
    <p:sldId id="2285" r:id="rId46"/>
    <p:sldId id="1328" r:id="rId47"/>
  </p:sldIdLst>
  <p:sldSz cx="9144000" cy="5143500" type="screen16x9"/>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64AE601-B107-BD43-A01D-40E09A6B482C}">
          <p14:sldIdLst>
            <p14:sldId id="256"/>
            <p14:sldId id="2247"/>
            <p14:sldId id="2248"/>
          </p14:sldIdLst>
        </p14:section>
        <p14:section name="Abschnitt ohne Titel" id="{EF362018-2B9A-6044-8A78-42E2AC187FF2}">
          <p14:sldIdLst>
            <p14:sldId id="1339"/>
            <p14:sldId id="2277"/>
            <p14:sldId id="2273"/>
            <p14:sldId id="2271"/>
            <p14:sldId id="298"/>
            <p14:sldId id="2276"/>
            <p14:sldId id="457"/>
            <p14:sldId id="300"/>
            <p14:sldId id="2272"/>
            <p14:sldId id="278"/>
            <p14:sldId id="2255"/>
            <p14:sldId id="2274"/>
            <p14:sldId id="269"/>
            <p14:sldId id="270"/>
            <p14:sldId id="306"/>
            <p14:sldId id="341"/>
            <p14:sldId id="288"/>
            <p14:sldId id="322"/>
            <p14:sldId id="2281"/>
            <p14:sldId id="347"/>
            <p14:sldId id="2282"/>
            <p14:sldId id="302"/>
            <p14:sldId id="2275"/>
            <p14:sldId id="284"/>
            <p14:sldId id="295"/>
            <p14:sldId id="311"/>
            <p14:sldId id="399"/>
            <p14:sldId id="257"/>
            <p14:sldId id="258"/>
            <p14:sldId id="2279"/>
            <p14:sldId id="259"/>
            <p14:sldId id="274"/>
            <p14:sldId id="2283"/>
            <p14:sldId id="2285"/>
            <p14:sldId id="1328"/>
          </p14:sldIdLst>
        </p14:section>
        <p14:section name="Abschnitt ohne Titel" id="{459847C5-BAD5-7545-AC7C-0B21C4D2F6F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Coenen" initials="JC" lastIdx="3" clrIdx="0">
    <p:extLst>
      <p:ext uri="{19B8F6BF-5375-455C-9EA6-DF929625EA0E}">
        <p15:presenceInfo xmlns:p15="http://schemas.microsoft.com/office/powerpoint/2012/main" userId="56afbd7d11bd333e" providerId="Windows Live"/>
      </p:ext>
    </p:extLst>
  </p:cmAuthor>
  <p:cmAuthor id="2" name="Johann Riesch" initials="JR" lastIdx="4" clrIdx="1">
    <p:extLst>
      <p:ext uri="{19B8F6BF-5375-455C-9EA6-DF929625EA0E}">
        <p15:presenceInfo xmlns:p15="http://schemas.microsoft.com/office/powerpoint/2012/main" userId="S-1-5-21-1299801458-425594478-296945773-84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74" autoAdjust="0"/>
    <p:restoredTop sz="91241" autoAdjust="0"/>
  </p:normalViewPr>
  <p:slideViewPr>
    <p:cSldViewPr showGuides="1">
      <p:cViewPr varScale="1">
        <p:scale>
          <a:sx n="261" d="100"/>
          <a:sy n="261" d="100"/>
        </p:scale>
        <p:origin x="3592" y="200"/>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89" d="100"/>
        <a:sy n="189" d="100"/>
      </p:scale>
      <p:origin x="0" y="0"/>
    </p:cViewPr>
  </p:sorterViewPr>
  <p:notesViewPr>
    <p:cSldViewPr showGuides="1">
      <p:cViewPr varScale="1">
        <p:scale>
          <a:sx n="118" d="100"/>
          <a:sy n="118" d="100"/>
        </p:scale>
        <p:origin x="4752" y="208"/>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15B2C45A-E869-45FE-B529-AF49C0F3C669}" type="datetimeFigureOut">
              <a:rPr lang="en-GB" smtClean="0">
                <a:latin typeface="Arial" panose="020B0604020202020204" pitchFamily="34" charset="0"/>
              </a:rPr>
              <a:pPr/>
              <a:t>10/04/2024</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A1166760-0E69-430F-A97F-08802152DB5E}" type="slidenum">
              <a:rPr lang="en-GB" smtClean="0">
                <a:latin typeface="Arial" panose="020B0604020202020204" pitchFamily="34" charset="0"/>
              </a:rPr>
              <a:pPr/>
              <a:t>‹Nr.›</a:t>
            </a:fld>
            <a:endParaRPr lang="en-GB" dirty="0">
              <a:latin typeface="Arial" panose="020B0604020202020204" pitchFamily="34" charset="0"/>
            </a:endParaRPr>
          </a:p>
        </p:txBody>
      </p:sp>
    </p:spTree>
    <p:extLst>
      <p:ext uri="{BB962C8B-B14F-4D97-AF65-F5344CB8AC3E}">
        <p14:creationId xmlns:p14="http://schemas.microsoft.com/office/powerpoint/2010/main" val="29436496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F93E6C17-F35F-4654-8DE9-B693AC206066}" type="datetimeFigureOut">
              <a:rPr lang="en-GB" smtClean="0"/>
              <a:pPr/>
              <a:t>10/04/2024</a:t>
            </a:fld>
            <a:endParaRPr lang="en-GB"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GB"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9027E0A-1465-4A40-B1D5-9126D49509FC}" type="slidenum">
              <a:rPr lang="en-GB" smtClean="0"/>
              <a:pPr/>
              <a:t>‹Nr.›</a:t>
            </a:fld>
            <a:endParaRPr lang="en-GB" dirty="0"/>
          </a:p>
        </p:txBody>
      </p:sp>
    </p:spTree>
    <p:extLst>
      <p:ext uri="{BB962C8B-B14F-4D97-AF65-F5344CB8AC3E}">
        <p14:creationId xmlns:p14="http://schemas.microsoft.com/office/powerpoint/2010/main" val="2513348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1</a:t>
            </a:fld>
            <a:endParaRPr lang="en-GB" dirty="0"/>
          </a:p>
        </p:txBody>
      </p:sp>
    </p:spTree>
    <p:extLst>
      <p:ext uri="{BB962C8B-B14F-4D97-AF65-F5344CB8AC3E}">
        <p14:creationId xmlns:p14="http://schemas.microsoft.com/office/powerpoint/2010/main" val="37634644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14</a:t>
            </a:fld>
            <a:endParaRPr lang="en-GB" dirty="0"/>
          </a:p>
        </p:txBody>
      </p:sp>
    </p:spTree>
    <p:extLst>
      <p:ext uri="{BB962C8B-B14F-4D97-AF65-F5344CB8AC3E}">
        <p14:creationId xmlns:p14="http://schemas.microsoft.com/office/powerpoint/2010/main" val="2636964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25</a:t>
            </a:fld>
            <a:endParaRPr lang="en-GB" dirty="0"/>
          </a:p>
        </p:txBody>
      </p:sp>
    </p:spTree>
    <p:extLst>
      <p:ext uri="{BB962C8B-B14F-4D97-AF65-F5344CB8AC3E}">
        <p14:creationId xmlns:p14="http://schemas.microsoft.com/office/powerpoint/2010/main" val="2807791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6202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4786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12254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33</a:t>
            </a:fld>
            <a:endParaRPr lang="en-GB" dirty="0"/>
          </a:p>
        </p:txBody>
      </p:sp>
    </p:spTree>
    <p:extLst>
      <p:ext uri="{BB962C8B-B14F-4D97-AF65-F5344CB8AC3E}">
        <p14:creationId xmlns:p14="http://schemas.microsoft.com/office/powerpoint/2010/main" val="13297991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51828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36</a:t>
            </a:fld>
            <a:endParaRPr lang="en-GB" dirty="0"/>
          </a:p>
        </p:txBody>
      </p:sp>
    </p:spTree>
    <p:extLst>
      <p:ext uri="{BB962C8B-B14F-4D97-AF65-F5344CB8AC3E}">
        <p14:creationId xmlns:p14="http://schemas.microsoft.com/office/powerpoint/2010/main" val="596561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49027E0A-1465-4A40-B1D5-9126D49509FC}" type="slidenum">
              <a:rPr lang="en-GB" smtClean="0"/>
              <a:pPr/>
              <a:t>2</a:t>
            </a:fld>
            <a:endParaRPr lang="en-GB" dirty="0"/>
          </a:p>
        </p:txBody>
      </p:sp>
    </p:spTree>
    <p:extLst>
      <p:ext uri="{BB962C8B-B14F-4D97-AF65-F5344CB8AC3E}">
        <p14:creationId xmlns:p14="http://schemas.microsoft.com/office/powerpoint/2010/main" val="4017447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Repalce</a:t>
            </a:r>
            <a:r>
              <a:rPr lang="de-DE" dirty="0"/>
              <a:t> </a:t>
            </a:r>
            <a:r>
              <a:rPr lang="de-DE" dirty="0" err="1"/>
              <a:t>by</a:t>
            </a:r>
            <a:r>
              <a:rPr lang="de-DE" dirty="0"/>
              <a:t> </a:t>
            </a:r>
            <a:r>
              <a:rPr lang="de-DE" dirty="0" err="1"/>
              <a:t>your</a:t>
            </a:r>
            <a:r>
              <a:rPr lang="de-DE" dirty="0"/>
              <a:t> SPX</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18083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4</a:t>
            </a:fld>
            <a:endParaRPr lang="en-GB" dirty="0"/>
          </a:p>
        </p:txBody>
      </p:sp>
    </p:spTree>
    <p:extLst>
      <p:ext uri="{BB962C8B-B14F-4D97-AF65-F5344CB8AC3E}">
        <p14:creationId xmlns:p14="http://schemas.microsoft.com/office/powerpoint/2010/main" val="2687463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This </a:t>
            </a:r>
            <a:r>
              <a:rPr lang="de-DE" dirty="0" err="1"/>
              <a:t>is</a:t>
            </a:r>
            <a:r>
              <a:rPr lang="de-DE" dirty="0"/>
              <a:t> just a </a:t>
            </a:r>
            <a:r>
              <a:rPr lang="de-DE" dirty="0" err="1"/>
              <a:t>summary</a:t>
            </a:r>
            <a:r>
              <a:rPr lang="de-DE" dirty="0"/>
              <a:t> </a:t>
            </a:r>
            <a:r>
              <a:rPr lang="de-DE" dirty="0" err="1"/>
              <a:t>table</a:t>
            </a:r>
            <a:r>
              <a:rPr lang="de-DE" dirty="0"/>
              <a:t> – Michael</a:t>
            </a:r>
            <a:r>
              <a:rPr lang="de-DE" baseline="0" dirty="0"/>
              <a:t> will </a:t>
            </a:r>
            <a:r>
              <a:rPr lang="de-DE" baseline="0" dirty="0" err="1"/>
              <a:t>provide</a:t>
            </a:r>
            <a:r>
              <a:rPr lang="de-DE" baseline="0" dirty="0"/>
              <a:t> it.</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027E0A-1465-4A40-B1D5-9126D49509FC}" type="slidenum">
              <a:rPr kumimoji="0" lang="en-GB" sz="13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05726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8</a:t>
            </a:fld>
            <a:endParaRPr lang="en-GB" dirty="0"/>
          </a:p>
        </p:txBody>
      </p:sp>
    </p:spTree>
    <p:extLst>
      <p:ext uri="{BB962C8B-B14F-4D97-AF65-F5344CB8AC3E}">
        <p14:creationId xmlns:p14="http://schemas.microsoft.com/office/powerpoint/2010/main" val="31531980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US" dirty="0"/>
          </a:p>
        </p:txBody>
      </p:sp>
      <p:sp>
        <p:nvSpPr>
          <p:cNvPr id="4" name="Marcador de número de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460C5C-F722-4D3E-8780-52478045CA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381140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Please</a:t>
            </a:r>
            <a:r>
              <a:rPr lang="de-DE" dirty="0"/>
              <a:t> </a:t>
            </a:r>
            <a:r>
              <a:rPr lang="de-DE" dirty="0" err="1"/>
              <a:t>Indicate</a:t>
            </a:r>
            <a:r>
              <a:rPr lang="de-DE" dirty="0"/>
              <a:t> </a:t>
            </a:r>
            <a:r>
              <a:rPr lang="de-DE" dirty="0" err="1"/>
              <a:t>your</a:t>
            </a:r>
            <a:r>
              <a:rPr lang="de-DE" dirty="0"/>
              <a:t> </a:t>
            </a:r>
            <a:r>
              <a:rPr lang="de-DE" dirty="0" err="1"/>
              <a:t>subproject</a:t>
            </a:r>
            <a:endParaRPr lang="de-DE" dirty="0"/>
          </a:p>
        </p:txBody>
      </p:sp>
      <p:sp>
        <p:nvSpPr>
          <p:cNvPr id="4" name="Foliennummernplatzhalter 3"/>
          <p:cNvSpPr>
            <a:spLocks noGrp="1"/>
          </p:cNvSpPr>
          <p:nvPr>
            <p:ph type="sldNum" sz="quarter" idx="10"/>
          </p:nvPr>
        </p:nvSpPr>
        <p:spPr/>
        <p:txBody>
          <a:bodyPr/>
          <a:lstStyle/>
          <a:p>
            <a:fld id="{49027E0A-1465-4A40-B1D5-9126D49509FC}" type="slidenum">
              <a:rPr lang="en-GB" smtClean="0"/>
              <a:pPr/>
              <a:t>11</a:t>
            </a:fld>
            <a:endParaRPr lang="en-GB" dirty="0"/>
          </a:p>
        </p:txBody>
      </p:sp>
    </p:spTree>
    <p:extLst>
      <p:ext uri="{BB962C8B-B14F-4D97-AF65-F5344CB8AC3E}">
        <p14:creationId xmlns:p14="http://schemas.microsoft.com/office/powerpoint/2010/main" val="37077478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49027E0A-1465-4A40-B1D5-9126D49509FC}" type="slidenum">
              <a:rPr lang="en-GB" smtClean="0"/>
              <a:pPr/>
              <a:t>13</a:t>
            </a:fld>
            <a:endParaRPr lang="en-GB" dirty="0"/>
          </a:p>
        </p:txBody>
      </p:sp>
    </p:spTree>
    <p:extLst>
      <p:ext uri="{BB962C8B-B14F-4D97-AF65-F5344CB8AC3E}">
        <p14:creationId xmlns:p14="http://schemas.microsoft.com/office/powerpoint/2010/main" val="22872500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4.emf"/><Relationship Id="rId1" Type="http://schemas.openxmlformats.org/officeDocument/2006/relationships/slideMaster" Target="../slideMasters/slideMaster3.xml"/><Relationship Id="rId4" Type="http://schemas.openxmlformats.org/officeDocument/2006/relationships/image" Target="../media/image15.jpe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4.emf"/><Relationship Id="rId1" Type="http://schemas.openxmlformats.org/officeDocument/2006/relationships/slideMaster" Target="../slideMasters/slideMaster4.xml"/><Relationship Id="rId4" Type="http://schemas.openxmlformats.org/officeDocument/2006/relationships/image" Target="../media/image15.jpe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14.emf"/><Relationship Id="rId1" Type="http://schemas.openxmlformats.org/officeDocument/2006/relationships/slideMaster" Target="../slideMasters/slideMaster6.xml"/><Relationship Id="rId4" Type="http://schemas.openxmlformats.org/officeDocument/2006/relationships/image" Target="../media/image15.jpe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Master" Target="../slideMasters/slideMaster7.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jp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Master" Target="../slideMasters/slideMaster7.xml"/><Relationship Id="rId5" Type="http://schemas.openxmlformats.org/officeDocument/2006/relationships/image" Target="../media/image22.png"/><Relationship Id="rId4" Type="http://schemas.openxmlformats.org/officeDocument/2006/relationships/image" Target="../media/image20.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jp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Master" Target="../slideMasters/slideMaster8.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7.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31.png"/><Relationship Id="rId1" Type="http://schemas.openxmlformats.org/officeDocument/2006/relationships/slideMaster" Target="../slideMasters/slideMaster8.xml"/><Relationship Id="rId5" Type="http://schemas.openxmlformats.org/officeDocument/2006/relationships/image" Target="../media/image30.emf"/><Relationship Id="rId4" Type="http://schemas.openxmlformats.org/officeDocument/2006/relationships/image" Target="../media/image29.emf"/></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6.emf"/><Relationship Id="rId4" Type="http://schemas.openxmlformats.org/officeDocument/2006/relationships/oleObject" Target="../embeddings/oleObject3.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6.emf"/><Relationship Id="rId4" Type="http://schemas.openxmlformats.org/officeDocument/2006/relationships/oleObject" Target="../embeddings/oleObject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image" Target="../media/image32.jpg"/></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6.emf"/><Relationship Id="rId5" Type="http://schemas.openxmlformats.org/officeDocument/2006/relationships/oleObject" Target="../embeddings/oleObject2.bin"/><Relationship Id="rId4" Type="http://schemas.openxmlformats.org/officeDocument/2006/relationships/image" Target="../media/image32.jp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900"/>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Picture Placeholder 10"/>
          <p:cNvSpPr>
            <a:spLocks noGrp="1"/>
          </p:cNvSpPr>
          <p:nvPr>
            <p:ph type="pic" sz="quarter" idx="10" hasCustomPrompt="1"/>
          </p:nvPr>
        </p:nvSpPr>
        <p:spPr>
          <a:xfrm>
            <a:off x="395537"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24" name="Bild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7" name="Picture 5">
            <a:extLst>
              <a:ext uri="{FF2B5EF4-FFF2-40B4-BE49-F238E27FC236}">
                <a16:creationId xmlns:a16="http://schemas.microsoft.com/office/drawing/2014/main" id="{F6C5CF7E-F1FA-E915-475F-E8B3D9F72D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08750" y="4295410"/>
            <a:ext cx="3627746" cy="744154"/>
          </a:xfrm>
          <a:prstGeom prst="rect">
            <a:avLst/>
          </a:prstGeom>
        </p:spPr>
      </p:pic>
    </p:spTree>
    <p:extLst>
      <p:ext uri="{BB962C8B-B14F-4D97-AF65-F5344CB8AC3E}">
        <p14:creationId xmlns:p14="http://schemas.microsoft.com/office/powerpoint/2010/main" val="16942950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re de section l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4256315" y="0"/>
            <a:ext cx="4887685"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5" name="Rectangle 24">
            <a:extLst>
              <a:ext uri="{FF2B5EF4-FFF2-40B4-BE49-F238E27FC236}">
                <a16:creationId xmlns:a16="http://schemas.microsoft.com/office/drawing/2014/main" id="{2E988CD6-F875-5F20-CB25-53D3006C5582}"/>
              </a:ext>
            </a:extLst>
          </p:cNvPr>
          <p:cNvSpPr/>
          <p:nvPr userDrawn="1"/>
        </p:nvSpPr>
        <p:spPr>
          <a:xfrm>
            <a:off x="2363392" y="2990850"/>
            <a:ext cx="261938" cy="2619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solidFill>
                <a:schemeClr val="tx2"/>
              </a:solidFill>
            </a:endParaRPr>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de section light</a:t>
            </a:r>
          </a:p>
        </p:txBody>
      </p:sp>
      <p:pic>
        <p:nvPicPr>
          <p:cNvPr id="8" name="PATTERN 14">
            <a:extLst>
              <a:ext uri="{FF2B5EF4-FFF2-40B4-BE49-F238E27FC236}">
                <a16:creationId xmlns:a16="http://schemas.microsoft.com/office/drawing/2014/main" id="{2582F57D-4CEF-BB5A-C74F-450386FD8EE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065" t="80145" r="2860" b="-12214"/>
          <a:stretch/>
        </p:blipFill>
        <p:spPr>
          <a:xfrm>
            <a:off x="0" y="0"/>
            <a:ext cx="9144001" cy="730800"/>
          </a:xfrm>
          <a:prstGeom prst="rect">
            <a:avLst/>
          </a:prstGeom>
        </p:spPr>
      </p:pic>
      <p:sp>
        <p:nvSpPr>
          <p:cNvPr id="9" name="Espace réservé de la date 8">
            <a:extLst>
              <a:ext uri="{FF2B5EF4-FFF2-40B4-BE49-F238E27FC236}">
                <a16:creationId xmlns:a16="http://schemas.microsoft.com/office/drawing/2014/main" id="{4B8F1117-0C05-E4A8-4E70-E7172B08AAB0}"/>
              </a:ext>
            </a:extLst>
          </p:cNvPr>
          <p:cNvSpPr>
            <a:spLocks noGrp="1"/>
          </p:cNvSpPr>
          <p:nvPr>
            <p:ph type="dt" sz="half" idx="14"/>
          </p:nvPr>
        </p:nvSpPr>
        <p:spPr/>
        <p:txBody>
          <a:bodyPr/>
          <a:lstStyle/>
          <a:p>
            <a:r>
              <a:rPr lang="fr-FR"/>
              <a:t>28/10/2022</a:t>
            </a:r>
            <a:endParaRPr lang="fr-FR" dirty="0"/>
          </a:p>
        </p:txBody>
      </p:sp>
      <p:sp>
        <p:nvSpPr>
          <p:cNvPr id="11" name="Espace réservé du numéro de diapositive 10">
            <a:extLst>
              <a:ext uri="{FF2B5EF4-FFF2-40B4-BE49-F238E27FC236}">
                <a16:creationId xmlns:a16="http://schemas.microsoft.com/office/drawing/2014/main" id="{3035A95C-D228-2D25-8FE9-AE69EC817782}"/>
              </a:ext>
            </a:extLst>
          </p:cNvPr>
          <p:cNvSpPr>
            <a:spLocks noGrp="1"/>
          </p:cNvSpPr>
          <p:nvPr>
            <p:ph type="sldNum" sz="quarter" idx="16"/>
          </p:nvPr>
        </p:nvSpPr>
        <p:spPr/>
        <p:txBody>
          <a:bodyPr/>
          <a:lstStyle/>
          <a:p>
            <a:fld id="{0CBC77A0-1F4E-42FF-9FFC-F45C3A64AF90}" type="slidenum">
              <a:rPr lang="fr-FR" smtClean="0"/>
              <a:pPr/>
              <a:t>‹Nr.›</a:t>
            </a:fld>
            <a:endParaRPr lang="fr-FR" dirty="0"/>
          </a:p>
        </p:txBody>
      </p:sp>
      <p:sp>
        <p:nvSpPr>
          <p:cNvPr id="4" name="Titre 1">
            <a:extLst>
              <a:ext uri="{FF2B5EF4-FFF2-40B4-BE49-F238E27FC236}">
                <a16:creationId xmlns:a16="http://schemas.microsoft.com/office/drawing/2014/main" id="{F8613F5A-9984-C727-F600-CCBEDD585800}"/>
              </a:ext>
            </a:extLst>
          </p:cNvPr>
          <p:cNvSpPr>
            <a:spLocks noGrp="1"/>
          </p:cNvSpPr>
          <p:nvPr>
            <p:ph type="title" hasCustomPrompt="1"/>
          </p:nvPr>
        </p:nvSpPr>
        <p:spPr>
          <a:xfrm>
            <a:off x="2828926" y="1628776"/>
            <a:ext cx="5766197" cy="1793081"/>
          </a:xfrm>
        </p:spPr>
        <p:txBody>
          <a:bodyPr anchor="b">
            <a:normAutofit/>
          </a:bodyPr>
          <a:lstStyle>
            <a:lvl1pPr>
              <a:defRPr sz="4050">
                <a:solidFill>
                  <a:schemeClr val="tx1"/>
                </a:solidFill>
              </a:defRPr>
            </a:lvl1pPr>
          </a:lstStyle>
          <a:p>
            <a:r>
              <a:rPr lang="fr-FR" dirty="0"/>
              <a:t>Titre de la partie</a:t>
            </a:r>
          </a:p>
        </p:txBody>
      </p:sp>
      <p:sp>
        <p:nvSpPr>
          <p:cNvPr id="5" name="Espace réservé du texte 2">
            <a:extLst>
              <a:ext uri="{FF2B5EF4-FFF2-40B4-BE49-F238E27FC236}">
                <a16:creationId xmlns:a16="http://schemas.microsoft.com/office/drawing/2014/main" id="{E05DBD74-1959-0025-2022-DD6D5BC564E2}"/>
              </a:ext>
            </a:extLst>
          </p:cNvPr>
          <p:cNvSpPr>
            <a:spLocks noGrp="1"/>
          </p:cNvSpPr>
          <p:nvPr>
            <p:ph type="body" idx="1"/>
          </p:nvPr>
        </p:nvSpPr>
        <p:spPr>
          <a:xfrm>
            <a:off x="2828926" y="3526971"/>
            <a:ext cx="5766197" cy="1040266"/>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6" name="Espace réservé du texte 2">
            <a:extLst>
              <a:ext uri="{FF2B5EF4-FFF2-40B4-BE49-F238E27FC236}">
                <a16:creationId xmlns:a16="http://schemas.microsoft.com/office/drawing/2014/main" id="{BD0683F2-0083-B473-85FA-BF21CA1AA74F}"/>
              </a:ext>
            </a:extLst>
          </p:cNvPr>
          <p:cNvSpPr>
            <a:spLocks noGrp="1"/>
          </p:cNvSpPr>
          <p:nvPr>
            <p:ph type="body" idx="13" hasCustomPrompt="1"/>
          </p:nvPr>
        </p:nvSpPr>
        <p:spPr>
          <a:xfrm>
            <a:off x="391716" y="1619250"/>
            <a:ext cx="1909763" cy="2005013"/>
          </a:xfrm>
        </p:spPr>
        <p:txBody>
          <a:bodyPr anchor="b">
            <a:noAutofit/>
          </a:bodyPr>
          <a:lstStyle>
            <a:lvl1pPr marL="0" indent="0" algn="r">
              <a:buNone/>
              <a:defRPr sz="10125">
                <a:solidFill>
                  <a:schemeClr val="tx2"/>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0</a:t>
            </a:r>
          </a:p>
        </p:txBody>
      </p:sp>
      <p:sp>
        <p:nvSpPr>
          <p:cNvPr id="12"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34767518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re de section Gri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5" name="Rectangle 24">
            <a:extLst>
              <a:ext uri="{FF2B5EF4-FFF2-40B4-BE49-F238E27FC236}">
                <a16:creationId xmlns:a16="http://schemas.microsoft.com/office/drawing/2014/main" id="{2E988CD6-F875-5F20-CB25-53D3006C5582}"/>
              </a:ext>
            </a:extLst>
          </p:cNvPr>
          <p:cNvSpPr/>
          <p:nvPr userDrawn="1"/>
        </p:nvSpPr>
        <p:spPr>
          <a:xfrm>
            <a:off x="2363392" y="2990850"/>
            <a:ext cx="261938" cy="2619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de section Gris</a:t>
            </a:r>
          </a:p>
        </p:txBody>
      </p:sp>
      <p:pic>
        <p:nvPicPr>
          <p:cNvPr id="14"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pic>
        <p:nvPicPr>
          <p:cNvPr id="15" name="PATTERN 14">
            <a:extLst>
              <a:ext uri="{FF2B5EF4-FFF2-40B4-BE49-F238E27FC236}">
                <a16:creationId xmlns:a16="http://schemas.microsoft.com/office/drawing/2014/main" id="{A9F2846A-9310-83E8-0175-AEDB4CD521B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642" t="81597" r="4284" b="-1066"/>
          <a:stretch/>
        </p:blipFill>
        <p:spPr>
          <a:xfrm>
            <a:off x="0" y="0"/>
            <a:ext cx="9144001" cy="443889"/>
          </a:xfrm>
          <a:prstGeom prst="rect">
            <a:avLst/>
          </a:prstGeom>
        </p:spPr>
      </p:pic>
      <p:sp>
        <p:nvSpPr>
          <p:cNvPr id="8" name="Titre 1">
            <a:extLst>
              <a:ext uri="{FF2B5EF4-FFF2-40B4-BE49-F238E27FC236}">
                <a16:creationId xmlns:a16="http://schemas.microsoft.com/office/drawing/2014/main" id="{4805F626-181E-BCC6-1382-C547F81E4E7B}"/>
              </a:ext>
            </a:extLst>
          </p:cNvPr>
          <p:cNvSpPr>
            <a:spLocks noGrp="1"/>
          </p:cNvSpPr>
          <p:nvPr>
            <p:ph type="title" hasCustomPrompt="1"/>
          </p:nvPr>
        </p:nvSpPr>
        <p:spPr>
          <a:xfrm>
            <a:off x="2828926" y="1628776"/>
            <a:ext cx="5766197" cy="1793081"/>
          </a:xfrm>
        </p:spPr>
        <p:txBody>
          <a:bodyPr anchor="b">
            <a:normAutofit/>
          </a:bodyPr>
          <a:lstStyle>
            <a:lvl1pPr>
              <a:defRPr sz="4050">
                <a:solidFill>
                  <a:schemeClr val="bg1"/>
                </a:solidFill>
              </a:defRPr>
            </a:lvl1pPr>
          </a:lstStyle>
          <a:p>
            <a:r>
              <a:rPr lang="fr-FR" dirty="0"/>
              <a:t>Titre de la partie</a:t>
            </a:r>
          </a:p>
        </p:txBody>
      </p:sp>
      <p:sp>
        <p:nvSpPr>
          <p:cNvPr id="9" name="Espace réservé du texte 2">
            <a:extLst>
              <a:ext uri="{FF2B5EF4-FFF2-40B4-BE49-F238E27FC236}">
                <a16:creationId xmlns:a16="http://schemas.microsoft.com/office/drawing/2014/main" id="{CF5C4E32-AAC2-242C-F6B9-3F8CFBDB1B6A}"/>
              </a:ext>
            </a:extLst>
          </p:cNvPr>
          <p:cNvSpPr>
            <a:spLocks noGrp="1"/>
          </p:cNvSpPr>
          <p:nvPr>
            <p:ph type="body" idx="1"/>
          </p:nvPr>
        </p:nvSpPr>
        <p:spPr>
          <a:xfrm>
            <a:off x="2828926" y="3526971"/>
            <a:ext cx="5766197" cy="1040266"/>
          </a:xfrm>
        </p:spPr>
        <p:txBody>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10" name="Espace réservé du texte 2">
            <a:extLst>
              <a:ext uri="{FF2B5EF4-FFF2-40B4-BE49-F238E27FC236}">
                <a16:creationId xmlns:a16="http://schemas.microsoft.com/office/drawing/2014/main" id="{28AA9B25-BFB9-155C-3383-B48A6E03F6A7}"/>
              </a:ext>
            </a:extLst>
          </p:cNvPr>
          <p:cNvSpPr>
            <a:spLocks noGrp="1"/>
          </p:cNvSpPr>
          <p:nvPr>
            <p:ph type="body" idx="13" hasCustomPrompt="1"/>
          </p:nvPr>
        </p:nvSpPr>
        <p:spPr>
          <a:xfrm>
            <a:off x="391716" y="1619250"/>
            <a:ext cx="1909763" cy="2005013"/>
          </a:xfrm>
        </p:spPr>
        <p:txBody>
          <a:bodyPr anchor="b">
            <a:noAutofit/>
          </a:bodyPr>
          <a:lstStyle>
            <a:lvl1pPr marL="0" indent="0" algn="r">
              <a:buNone/>
              <a:defRPr sz="10125">
                <a:solidFill>
                  <a:schemeClr val="tx2"/>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0</a:t>
            </a:r>
          </a:p>
        </p:txBody>
      </p:sp>
    </p:spTree>
    <p:extLst>
      <p:ext uri="{BB962C8B-B14F-4D97-AF65-F5344CB8AC3E}">
        <p14:creationId xmlns:p14="http://schemas.microsoft.com/office/powerpoint/2010/main" val="7711770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re de section Ble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5" name="Rectangle 24">
            <a:extLst>
              <a:ext uri="{FF2B5EF4-FFF2-40B4-BE49-F238E27FC236}">
                <a16:creationId xmlns:a16="http://schemas.microsoft.com/office/drawing/2014/main" id="{2E988CD6-F875-5F20-CB25-53D3006C5582}"/>
              </a:ext>
            </a:extLst>
          </p:cNvPr>
          <p:cNvSpPr/>
          <p:nvPr userDrawn="1"/>
        </p:nvSpPr>
        <p:spPr>
          <a:xfrm>
            <a:off x="2363392" y="2990850"/>
            <a:ext cx="261938" cy="261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de section Bleu</a:t>
            </a:r>
          </a:p>
        </p:txBody>
      </p:sp>
      <p:pic>
        <p:nvPicPr>
          <p:cNvPr id="13"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pic>
        <p:nvPicPr>
          <p:cNvPr id="14" name="PATTERN 14">
            <a:extLst>
              <a:ext uri="{FF2B5EF4-FFF2-40B4-BE49-F238E27FC236}">
                <a16:creationId xmlns:a16="http://schemas.microsoft.com/office/drawing/2014/main" id="{A9F2846A-9310-83E8-0175-AEDB4CD521B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1642" t="81597" r="4284" b="-1066"/>
          <a:stretch/>
        </p:blipFill>
        <p:spPr>
          <a:xfrm>
            <a:off x="0" y="0"/>
            <a:ext cx="9144001" cy="443889"/>
          </a:xfrm>
          <a:prstGeom prst="rect">
            <a:avLst/>
          </a:prstGeom>
        </p:spPr>
      </p:pic>
      <p:sp>
        <p:nvSpPr>
          <p:cNvPr id="8" name="Titre 1">
            <a:extLst>
              <a:ext uri="{FF2B5EF4-FFF2-40B4-BE49-F238E27FC236}">
                <a16:creationId xmlns:a16="http://schemas.microsoft.com/office/drawing/2014/main" id="{1EE20C3D-7EDC-C467-57AB-6011AB94E6CE}"/>
              </a:ext>
            </a:extLst>
          </p:cNvPr>
          <p:cNvSpPr>
            <a:spLocks noGrp="1"/>
          </p:cNvSpPr>
          <p:nvPr>
            <p:ph type="title" hasCustomPrompt="1"/>
          </p:nvPr>
        </p:nvSpPr>
        <p:spPr>
          <a:xfrm>
            <a:off x="2828926" y="1628776"/>
            <a:ext cx="5766197" cy="1793081"/>
          </a:xfrm>
        </p:spPr>
        <p:txBody>
          <a:bodyPr anchor="b">
            <a:normAutofit/>
          </a:bodyPr>
          <a:lstStyle>
            <a:lvl1pPr>
              <a:defRPr sz="4050">
                <a:solidFill>
                  <a:schemeClr val="bg1"/>
                </a:solidFill>
              </a:defRPr>
            </a:lvl1pPr>
          </a:lstStyle>
          <a:p>
            <a:r>
              <a:rPr lang="fr-FR" dirty="0"/>
              <a:t>Titre de la partie</a:t>
            </a:r>
          </a:p>
        </p:txBody>
      </p:sp>
      <p:sp>
        <p:nvSpPr>
          <p:cNvPr id="9" name="Espace réservé du texte 2">
            <a:extLst>
              <a:ext uri="{FF2B5EF4-FFF2-40B4-BE49-F238E27FC236}">
                <a16:creationId xmlns:a16="http://schemas.microsoft.com/office/drawing/2014/main" id="{7F06A08C-C6D3-6EB1-26CF-BBE33E5D79AE}"/>
              </a:ext>
            </a:extLst>
          </p:cNvPr>
          <p:cNvSpPr>
            <a:spLocks noGrp="1"/>
          </p:cNvSpPr>
          <p:nvPr>
            <p:ph type="body" idx="1"/>
          </p:nvPr>
        </p:nvSpPr>
        <p:spPr>
          <a:xfrm>
            <a:off x="2828926" y="3526971"/>
            <a:ext cx="5766197" cy="1040266"/>
          </a:xfrm>
        </p:spPr>
        <p:txBody>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10" name="Espace réservé du texte 2">
            <a:extLst>
              <a:ext uri="{FF2B5EF4-FFF2-40B4-BE49-F238E27FC236}">
                <a16:creationId xmlns:a16="http://schemas.microsoft.com/office/drawing/2014/main" id="{6FC69820-7AD8-8DE6-6DD2-0BCC3DF92B81}"/>
              </a:ext>
            </a:extLst>
          </p:cNvPr>
          <p:cNvSpPr>
            <a:spLocks noGrp="1"/>
          </p:cNvSpPr>
          <p:nvPr>
            <p:ph type="body" idx="13" hasCustomPrompt="1"/>
          </p:nvPr>
        </p:nvSpPr>
        <p:spPr>
          <a:xfrm>
            <a:off x="391716" y="1619250"/>
            <a:ext cx="1909763" cy="2005013"/>
          </a:xfrm>
        </p:spPr>
        <p:txBody>
          <a:bodyPr anchor="b">
            <a:noAutofit/>
          </a:bodyPr>
          <a:lstStyle>
            <a:lvl1pPr marL="0" indent="0" algn="r">
              <a:buNone/>
              <a:defRPr sz="10125">
                <a:solidFill>
                  <a:schemeClr val="bg1"/>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0</a:t>
            </a:r>
          </a:p>
        </p:txBody>
      </p:sp>
      <p:sp>
        <p:nvSpPr>
          <p:cNvPr id="15"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a:noFill/>
        </p:spPr>
        <p:txBody>
          <a:bodyPr vert="horz" lIns="91440" tIns="45720" rIns="91440" bIns="45720" rtlCol="0" anchor="ctr"/>
          <a:lstStyle>
            <a:lvl1pPr algn="ctr">
              <a:defRPr sz="900">
                <a:solidFill>
                  <a:schemeClr val="bg1"/>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1758403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r>
              <a:rPr lang="fr-FR"/>
              <a:t>28/10/2022</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et contenu</a:t>
            </a:r>
          </a:p>
        </p:txBody>
      </p:sp>
      <p:pic>
        <p:nvPicPr>
          <p:cNvPr id="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C1303A6F-3D61-F6AC-9302-9FE476FEAE83}"/>
              </a:ext>
            </a:extLst>
          </p:cNvPr>
          <p:cNvSpPr>
            <a:spLocks noGrp="1"/>
          </p:cNvSpPr>
          <p:nvPr>
            <p:ph type="title"/>
          </p:nvPr>
        </p:nvSpPr>
        <p:spPr/>
        <p:txBody>
          <a:bodyPr/>
          <a:lstStyle/>
          <a:p>
            <a:r>
              <a:rPr lang="fr-FR"/>
              <a:t>Modifiez le style du titre</a:t>
            </a:r>
          </a:p>
        </p:txBody>
      </p:sp>
      <p:sp>
        <p:nvSpPr>
          <p:cNvPr id="10"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5120171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contenu 2 colonnes">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p:txBody>
          <a:bodyPr numCol="2" spcCol="36000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r>
              <a:rPr lang="fr-FR"/>
              <a:t>28/10/2022</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et contenu 2 colonnes</a:t>
            </a:r>
          </a:p>
        </p:txBody>
      </p:sp>
      <p:pic>
        <p:nvPicPr>
          <p:cNvPr id="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190406E3-1995-7E53-4201-E3BFE87AEDED}"/>
              </a:ext>
            </a:extLst>
          </p:cNvPr>
          <p:cNvSpPr>
            <a:spLocks noGrp="1"/>
          </p:cNvSpPr>
          <p:nvPr>
            <p:ph type="title"/>
          </p:nvPr>
        </p:nvSpPr>
        <p:spPr/>
        <p:txBody>
          <a:bodyPr/>
          <a:lstStyle/>
          <a:p>
            <a:r>
              <a:rPr lang="fr-FR"/>
              <a:t>Modifiez le style du titre</a:t>
            </a:r>
          </a:p>
        </p:txBody>
      </p:sp>
      <p:sp>
        <p:nvSpPr>
          <p:cNvPr id="10"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36485610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8" name="ZoneTexte 7">
            <a:extLst>
              <a:ext uri="{FF2B5EF4-FFF2-40B4-BE49-F238E27FC236}">
                <a16:creationId xmlns:a16="http://schemas.microsoft.com/office/drawing/2014/main" id="{0A0EC86F-304E-3536-3F67-83FB88AE19A8}"/>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Deux contenus</a:t>
            </a:r>
          </a:p>
        </p:txBody>
      </p:sp>
      <p:sp>
        <p:nvSpPr>
          <p:cNvPr id="9" name="Espace réservé du contenu 2">
            <a:extLst>
              <a:ext uri="{FF2B5EF4-FFF2-40B4-BE49-F238E27FC236}">
                <a16:creationId xmlns:a16="http://schemas.microsoft.com/office/drawing/2014/main" id="{F34F4926-6F56-0A25-B372-10732490EDF4}"/>
              </a:ext>
            </a:extLst>
          </p:cNvPr>
          <p:cNvSpPr>
            <a:spLocks noGrp="1"/>
          </p:cNvSpPr>
          <p:nvPr>
            <p:ph idx="1"/>
          </p:nvPr>
        </p:nvSpPr>
        <p:spPr>
          <a:xfrm>
            <a:off x="548879" y="1035844"/>
            <a:ext cx="3915000" cy="3399235"/>
          </a:xfrm>
        </p:spPr>
        <p:txBody>
          <a:bodyPr numCol="1" spcCol="36000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Espace réservé du contenu 2">
            <a:extLst>
              <a:ext uri="{FF2B5EF4-FFF2-40B4-BE49-F238E27FC236}">
                <a16:creationId xmlns:a16="http://schemas.microsoft.com/office/drawing/2014/main" id="{F802D6D2-F118-2B59-9C45-1CC10FBBC483}"/>
              </a:ext>
            </a:extLst>
          </p:cNvPr>
          <p:cNvSpPr>
            <a:spLocks noGrp="1"/>
          </p:cNvSpPr>
          <p:nvPr>
            <p:ph idx="13"/>
          </p:nvPr>
        </p:nvSpPr>
        <p:spPr>
          <a:xfrm>
            <a:off x="4680122" y="1035844"/>
            <a:ext cx="3915000" cy="3399235"/>
          </a:xfrm>
        </p:spPr>
        <p:txBody>
          <a:bodyPr numCol="1" spcCol="36000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 name="Espace réservé de la date 2">
            <a:extLst>
              <a:ext uri="{FF2B5EF4-FFF2-40B4-BE49-F238E27FC236}">
                <a16:creationId xmlns:a16="http://schemas.microsoft.com/office/drawing/2014/main" id="{B0193794-6F65-B456-F1A9-EADC52921C75}"/>
              </a:ext>
            </a:extLst>
          </p:cNvPr>
          <p:cNvSpPr>
            <a:spLocks noGrp="1"/>
          </p:cNvSpPr>
          <p:nvPr>
            <p:ph type="dt" sz="half" idx="14"/>
          </p:nvPr>
        </p:nvSpPr>
        <p:spPr/>
        <p:txBody>
          <a:bodyPr/>
          <a:lstStyle/>
          <a:p>
            <a:r>
              <a:rPr lang="fr-FR"/>
              <a:t>28/10/2022</a:t>
            </a:r>
            <a:endParaRPr lang="fr-FR" dirty="0"/>
          </a:p>
        </p:txBody>
      </p:sp>
      <p:sp>
        <p:nvSpPr>
          <p:cNvPr id="4" name="Espace réservé du pied de page 3">
            <a:extLst>
              <a:ext uri="{FF2B5EF4-FFF2-40B4-BE49-F238E27FC236}">
                <a16:creationId xmlns:a16="http://schemas.microsoft.com/office/drawing/2014/main" id="{DCC46E9C-9B20-58EA-7754-C9B26EC6B287}"/>
              </a:ext>
            </a:extLst>
          </p:cNvPr>
          <p:cNvSpPr>
            <a:spLocks noGrp="1"/>
          </p:cNvSpPr>
          <p:nvPr>
            <p:ph type="ftr" sz="quarter" idx="15"/>
          </p:nvPr>
        </p:nvSpPr>
        <p:spPr/>
        <p:txBody>
          <a:bodyPr/>
          <a:lstStyle/>
          <a:p>
            <a:r>
              <a:rPr lang="fr-FR"/>
              <a:t>Exemple de pied de page (A modifier dans l'onglet "Insertion"/"En-tête/Pied"</a:t>
            </a:r>
            <a:endParaRPr lang="fr-FR" dirty="0"/>
          </a:p>
        </p:txBody>
      </p:sp>
      <p:sp>
        <p:nvSpPr>
          <p:cNvPr id="11" name="Espace réservé du numéro de diapositive 10">
            <a:extLst>
              <a:ext uri="{FF2B5EF4-FFF2-40B4-BE49-F238E27FC236}">
                <a16:creationId xmlns:a16="http://schemas.microsoft.com/office/drawing/2014/main" id="{6DE9E80E-CBBF-3D55-99B3-7F65311E5406}"/>
              </a:ext>
            </a:extLst>
          </p:cNvPr>
          <p:cNvSpPr>
            <a:spLocks noGrp="1"/>
          </p:cNvSpPr>
          <p:nvPr>
            <p:ph type="sldNum" sz="quarter" idx="16"/>
          </p:nvPr>
        </p:nvSpPr>
        <p:spPr/>
        <p:txBody>
          <a:bodyPr/>
          <a:lstStyle/>
          <a:p>
            <a:fld id="{0CBC77A0-1F4E-42FF-9FFC-F45C3A64AF90}" type="slidenum">
              <a:rPr lang="fr-FR" smtClean="0"/>
              <a:pPr/>
              <a:t>‹Nr.›</a:t>
            </a:fld>
            <a:endParaRPr lang="fr-FR" dirty="0"/>
          </a:p>
        </p:txBody>
      </p:sp>
      <p:pic>
        <p:nvPicPr>
          <p:cNvPr id="13"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093B771A-F9FE-5447-E51C-40360A182604}"/>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18236954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5D271B01-F4E4-B2FD-ADE2-0F5A74232FF0}"/>
              </a:ext>
            </a:extLst>
          </p:cNvPr>
          <p:cNvSpPr>
            <a:spLocks noGrp="1"/>
          </p:cNvSpPr>
          <p:nvPr>
            <p:ph type="body" idx="1"/>
          </p:nvPr>
        </p:nvSpPr>
        <p:spPr>
          <a:xfrm>
            <a:off x="548879" y="1013222"/>
            <a:ext cx="3915000" cy="617934"/>
          </a:xfrm>
        </p:spPr>
        <p:txBody>
          <a:bodyPr anchor="b">
            <a:normAutofit/>
          </a:bodyPr>
          <a:lstStyle>
            <a:lvl1pPr marL="0" indent="0">
              <a:buNone/>
              <a:defRPr sz="15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3FD7597D-BC71-3CA1-38C9-B6FBD6A7FA8F}"/>
              </a:ext>
            </a:extLst>
          </p:cNvPr>
          <p:cNvSpPr>
            <a:spLocks noGrp="1"/>
          </p:cNvSpPr>
          <p:nvPr>
            <p:ph sz="half" idx="2"/>
          </p:nvPr>
        </p:nvSpPr>
        <p:spPr>
          <a:xfrm>
            <a:off x="548879" y="1724026"/>
            <a:ext cx="3915000" cy="291822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5" name="Espace réservé du texte 4">
            <a:extLst>
              <a:ext uri="{FF2B5EF4-FFF2-40B4-BE49-F238E27FC236}">
                <a16:creationId xmlns:a16="http://schemas.microsoft.com/office/drawing/2014/main" id="{D5B97958-7FD8-2766-D566-D383863BB3BD}"/>
              </a:ext>
            </a:extLst>
          </p:cNvPr>
          <p:cNvSpPr>
            <a:spLocks noGrp="1"/>
          </p:cNvSpPr>
          <p:nvPr>
            <p:ph type="body" sz="quarter" idx="3"/>
          </p:nvPr>
        </p:nvSpPr>
        <p:spPr>
          <a:xfrm>
            <a:off x="4680122" y="1013222"/>
            <a:ext cx="3915000" cy="617934"/>
          </a:xfrm>
        </p:spPr>
        <p:txBody>
          <a:bodyPr anchor="b">
            <a:normAutofit/>
          </a:bodyPr>
          <a:lstStyle>
            <a:lvl1pPr marL="0" indent="0">
              <a:buNone/>
              <a:defRPr sz="1500" b="1">
                <a:solidFill>
                  <a:schemeClr val="tx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C642EBB1-652D-E679-13E7-0B6ECA9011C8}"/>
              </a:ext>
            </a:extLst>
          </p:cNvPr>
          <p:cNvSpPr>
            <a:spLocks noGrp="1"/>
          </p:cNvSpPr>
          <p:nvPr>
            <p:ph sz="quarter" idx="4"/>
          </p:nvPr>
        </p:nvSpPr>
        <p:spPr>
          <a:xfrm>
            <a:off x="4680122" y="1724026"/>
            <a:ext cx="3915000" cy="291822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numéro de diapositive 8">
            <a:extLst>
              <a:ext uri="{FF2B5EF4-FFF2-40B4-BE49-F238E27FC236}">
                <a16:creationId xmlns:a16="http://schemas.microsoft.com/office/drawing/2014/main" id="{2F7D0E24-8938-8209-D803-6F81B0B445EB}"/>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10" name="ZoneTexte 9">
            <a:extLst>
              <a:ext uri="{FF2B5EF4-FFF2-40B4-BE49-F238E27FC236}">
                <a16:creationId xmlns:a16="http://schemas.microsoft.com/office/drawing/2014/main" id="{173701A9-B73D-CA83-ABED-FAE572A2B991}"/>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Comparaison</a:t>
            </a:r>
          </a:p>
        </p:txBody>
      </p:sp>
      <p:pic>
        <p:nvPicPr>
          <p:cNvPr id="12"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348A9086-96BC-9730-CABD-6DAB6AC20C34}"/>
              </a:ext>
            </a:extLst>
          </p:cNvPr>
          <p:cNvSpPr>
            <a:spLocks noGrp="1"/>
          </p:cNvSpPr>
          <p:nvPr>
            <p:ph type="title"/>
          </p:nvPr>
        </p:nvSpPr>
        <p:spPr/>
        <p:txBody>
          <a:bodyPr/>
          <a:lstStyle/>
          <a:p>
            <a:r>
              <a:rPr lang="fr-FR"/>
              <a:t>Modifiez le style du titre</a:t>
            </a:r>
          </a:p>
        </p:txBody>
      </p:sp>
      <p:sp>
        <p:nvSpPr>
          <p:cNvPr id="13" name="Espace réservé du pied de page 4">
            <a:extLst>
              <a:ext uri="{FF2B5EF4-FFF2-40B4-BE49-F238E27FC236}">
                <a16:creationId xmlns:a16="http://schemas.microsoft.com/office/drawing/2014/main" id="{75C35D0C-47E7-5C23-F3E1-F607F10E2CE5}"/>
              </a:ext>
            </a:extLst>
          </p:cNvPr>
          <p:cNvSpPr>
            <a:spLocks noGrp="1"/>
          </p:cNvSpPr>
          <p:nvPr>
            <p:ph type="ftr" sz="quarter" idx="1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30064361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ux contenus Fond gri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E21B82-70BD-E39B-E420-F5C8A87EF98F}"/>
              </a:ext>
            </a:extLst>
          </p:cNvPr>
          <p:cNvSpPr/>
          <p:nvPr userDrawn="1"/>
        </p:nvSpPr>
        <p:spPr>
          <a:xfrm>
            <a:off x="0" y="2372453"/>
            <a:ext cx="9144000" cy="3985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sp>
        <p:nvSpPr>
          <p:cNvPr id="8" name="ZoneTexte 7">
            <a:extLst>
              <a:ext uri="{FF2B5EF4-FFF2-40B4-BE49-F238E27FC236}">
                <a16:creationId xmlns:a16="http://schemas.microsoft.com/office/drawing/2014/main" id="{0A0EC86F-304E-3536-3F67-83FB88AE19A8}"/>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Deux contenus Fond gris</a:t>
            </a:r>
          </a:p>
        </p:txBody>
      </p:sp>
      <p:sp>
        <p:nvSpPr>
          <p:cNvPr id="9" name="Espace réservé du contenu 2">
            <a:extLst>
              <a:ext uri="{FF2B5EF4-FFF2-40B4-BE49-F238E27FC236}">
                <a16:creationId xmlns:a16="http://schemas.microsoft.com/office/drawing/2014/main" id="{F34F4926-6F56-0A25-B372-10732490EDF4}"/>
              </a:ext>
            </a:extLst>
          </p:cNvPr>
          <p:cNvSpPr>
            <a:spLocks noGrp="1"/>
          </p:cNvSpPr>
          <p:nvPr>
            <p:ph idx="1"/>
          </p:nvPr>
        </p:nvSpPr>
        <p:spPr>
          <a:xfrm>
            <a:off x="548879" y="1035844"/>
            <a:ext cx="3915000" cy="3399235"/>
          </a:xfrm>
        </p:spPr>
        <p:txBody>
          <a:bodyPr numCol="1"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Espace réservé du contenu 2">
            <a:extLst>
              <a:ext uri="{FF2B5EF4-FFF2-40B4-BE49-F238E27FC236}">
                <a16:creationId xmlns:a16="http://schemas.microsoft.com/office/drawing/2014/main" id="{F802D6D2-F118-2B59-9C45-1CC10FBBC483}"/>
              </a:ext>
            </a:extLst>
          </p:cNvPr>
          <p:cNvSpPr>
            <a:spLocks noGrp="1"/>
          </p:cNvSpPr>
          <p:nvPr>
            <p:ph idx="13"/>
          </p:nvPr>
        </p:nvSpPr>
        <p:spPr>
          <a:xfrm>
            <a:off x="4680122" y="1035844"/>
            <a:ext cx="3915000" cy="3399235"/>
          </a:xfrm>
        </p:spPr>
        <p:txBody>
          <a:bodyPr numCol="1"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3" name="Espace réservé de la date 2">
            <a:extLst>
              <a:ext uri="{FF2B5EF4-FFF2-40B4-BE49-F238E27FC236}">
                <a16:creationId xmlns:a16="http://schemas.microsoft.com/office/drawing/2014/main" id="{B0193794-6F65-B456-F1A9-EADC52921C75}"/>
              </a:ext>
            </a:extLst>
          </p:cNvPr>
          <p:cNvSpPr>
            <a:spLocks noGrp="1"/>
          </p:cNvSpPr>
          <p:nvPr>
            <p:ph type="dt" sz="half" idx="14"/>
          </p:nvPr>
        </p:nvSpPr>
        <p:spPr/>
        <p:txBody>
          <a:bodyPr/>
          <a:lstStyle>
            <a:lvl1pPr>
              <a:defRPr>
                <a:solidFill>
                  <a:schemeClr val="bg1"/>
                </a:solidFill>
              </a:defRPr>
            </a:lvl1pPr>
          </a:lstStyle>
          <a:p>
            <a:r>
              <a:rPr lang="fr-FR"/>
              <a:t>28/10/2022</a:t>
            </a:r>
            <a:endParaRPr lang="fr-FR" dirty="0"/>
          </a:p>
        </p:txBody>
      </p:sp>
      <p:sp>
        <p:nvSpPr>
          <p:cNvPr id="4" name="Espace réservé du pied de page 3">
            <a:extLst>
              <a:ext uri="{FF2B5EF4-FFF2-40B4-BE49-F238E27FC236}">
                <a16:creationId xmlns:a16="http://schemas.microsoft.com/office/drawing/2014/main" id="{DCC46E9C-9B20-58EA-7754-C9B26EC6B287}"/>
              </a:ext>
            </a:extLst>
          </p:cNvPr>
          <p:cNvSpPr>
            <a:spLocks noGrp="1"/>
          </p:cNvSpPr>
          <p:nvPr>
            <p:ph type="ftr" sz="quarter" idx="15"/>
          </p:nvPr>
        </p:nvSpPr>
        <p:spPr/>
        <p:txBody>
          <a:bodyPr/>
          <a:lstStyle>
            <a:lvl1pPr>
              <a:defRPr>
                <a:solidFill>
                  <a:schemeClr val="bg1"/>
                </a:solidFill>
              </a:defRPr>
            </a:lvl1pPr>
          </a:lstStyle>
          <a:p>
            <a:r>
              <a:rPr lang="fr-FR"/>
              <a:t>Exemple de pied de page (A modifier dans l'onglet "Insertion"/"En-tête/Pied"</a:t>
            </a:r>
            <a:endParaRPr lang="fr-FR" dirty="0"/>
          </a:p>
        </p:txBody>
      </p:sp>
      <p:sp>
        <p:nvSpPr>
          <p:cNvPr id="11" name="Espace réservé du numéro de diapositive 10">
            <a:extLst>
              <a:ext uri="{FF2B5EF4-FFF2-40B4-BE49-F238E27FC236}">
                <a16:creationId xmlns:a16="http://schemas.microsoft.com/office/drawing/2014/main" id="{6DE9E80E-CBBF-3D55-99B3-7F65311E5406}"/>
              </a:ext>
            </a:extLst>
          </p:cNvPr>
          <p:cNvSpPr>
            <a:spLocks noGrp="1"/>
          </p:cNvSpPr>
          <p:nvPr>
            <p:ph type="sldNum" sz="quarter" idx="16"/>
          </p:nvPr>
        </p:nvSpPr>
        <p:spPr/>
        <p:txBody>
          <a:bodyPr/>
          <a:lstStyle>
            <a:lvl1pPr>
              <a:defRPr>
                <a:solidFill>
                  <a:schemeClr val="bg1"/>
                </a:solidFill>
              </a:defRPr>
            </a:lvl1pPr>
          </a:lstStyle>
          <a:p>
            <a:fld id="{0CBC77A0-1F4E-42FF-9FFC-F45C3A64AF90}" type="slidenum">
              <a:rPr lang="fr-FR" smtClean="0"/>
              <a:pPr/>
              <a:t>‹Nr.›</a:t>
            </a:fld>
            <a:endParaRPr lang="fr-FR" dirty="0"/>
          </a:p>
        </p:txBody>
      </p:sp>
      <p:pic>
        <p:nvPicPr>
          <p:cNvPr id="13"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sp>
        <p:nvSpPr>
          <p:cNvPr id="2" name="Titre 1">
            <a:extLst>
              <a:ext uri="{FF2B5EF4-FFF2-40B4-BE49-F238E27FC236}">
                <a16:creationId xmlns:a16="http://schemas.microsoft.com/office/drawing/2014/main" id="{A6F77F40-08E8-9301-36C7-9AA7D4B91AF5}"/>
              </a:ext>
            </a:extLst>
          </p:cNvPr>
          <p:cNvSpPr>
            <a:spLocks noGrp="1"/>
          </p:cNvSpPr>
          <p:nvPr>
            <p:ph type="title"/>
          </p:nvPr>
        </p:nvSpPr>
        <p:spPr/>
        <p:txBody>
          <a:bodyPr/>
          <a:lstStyle>
            <a:lvl1pPr>
              <a:defRPr>
                <a:solidFill>
                  <a:schemeClr val="bg1"/>
                </a:solidFill>
              </a:defRPr>
            </a:lvl1pPr>
          </a:lstStyle>
          <a:p>
            <a:r>
              <a:rPr lang="fr-FR"/>
              <a:t>Modifiez le style du titre</a:t>
            </a:r>
            <a:endParaRPr lang="fr-FR" dirty="0"/>
          </a:p>
        </p:txBody>
      </p:sp>
    </p:spTree>
    <p:extLst>
      <p:ext uri="{BB962C8B-B14F-4D97-AF65-F5344CB8AC3E}">
        <p14:creationId xmlns:p14="http://schemas.microsoft.com/office/powerpoint/2010/main" val="2751185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ux contenus rou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3BE21B82-70BD-E39B-E420-F5C8A87EF98F}"/>
              </a:ext>
            </a:extLst>
          </p:cNvPr>
          <p:cNvSpPr/>
          <p:nvPr userDrawn="1"/>
        </p:nvSpPr>
        <p:spPr>
          <a:xfrm>
            <a:off x="0" y="2372453"/>
            <a:ext cx="9144000" cy="39859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sp>
        <p:nvSpPr>
          <p:cNvPr id="8" name="ZoneTexte 7">
            <a:extLst>
              <a:ext uri="{FF2B5EF4-FFF2-40B4-BE49-F238E27FC236}">
                <a16:creationId xmlns:a16="http://schemas.microsoft.com/office/drawing/2014/main" id="{0A0EC86F-304E-3536-3F67-83FB88AE19A8}"/>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Deux contenus Fond rouge</a:t>
            </a:r>
          </a:p>
        </p:txBody>
      </p:sp>
      <p:sp>
        <p:nvSpPr>
          <p:cNvPr id="3" name="Espace réservé de la date 2">
            <a:extLst>
              <a:ext uri="{FF2B5EF4-FFF2-40B4-BE49-F238E27FC236}">
                <a16:creationId xmlns:a16="http://schemas.microsoft.com/office/drawing/2014/main" id="{B0193794-6F65-B456-F1A9-EADC52921C75}"/>
              </a:ext>
            </a:extLst>
          </p:cNvPr>
          <p:cNvSpPr>
            <a:spLocks noGrp="1"/>
          </p:cNvSpPr>
          <p:nvPr>
            <p:ph type="dt" sz="half" idx="14"/>
          </p:nvPr>
        </p:nvSpPr>
        <p:spPr/>
        <p:txBody>
          <a:bodyPr/>
          <a:lstStyle>
            <a:lvl1pPr>
              <a:defRPr>
                <a:solidFill>
                  <a:schemeClr val="bg1"/>
                </a:solidFill>
              </a:defRPr>
            </a:lvl1pPr>
          </a:lstStyle>
          <a:p>
            <a:r>
              <a:rPr lang="fr-FR"/>
              <a:t>28/10/2022</a:t>
            </a:r>
            <a:endParaRPr lang="fr-FR" dirty="0"/>
          </a:p>
        </p:txBody>
      </p:sp>
      <p:sp>
        <p:nvSpPr>
          <p:cNvPr id="4" name="Espace réservé du pied de page 3">
            <a:extLst>
              <a:ext uri="{FF2B5EF4-FFF2-40B4-BE49-F238E27FC236}">
                <a16:creationId xmlns:a16="http://schemas.microsoft.com/office/drawing/2014/main" id="{DCC46E9C-9B20-58EA-7754-C9B26EC6B287}"/>
              </a:ext>
            </a:extLst>
          </p:cNvPr>
          <p:cNvSpPr>
            <a:spLocks noGrp="1"/>
          </p:cNvSpPr>
          <p:nvPr>
            <p:ph type="ftr" sz="quarter" idx="15"/>
          </p:nvPr>
        </p:nvSpPr>
        <p:spPr/>
        <p:txBody>
          <a:bodyPr/>
          <a:lstStyle>
            <a:lvl1pPr>
              <a:defRPr>
                <a:solidFill>
                  <a:schemeClr val="bg1"/>
                </a:solidFill>
              </a:defRPr>
            </a:lvl1pPr>
          </a:lstStyle>
          <a:p>
            <a:r>
              <a:rPr lang="fr-FR"/>
              <a:t>Exemple de pied de page (A modifier dans l'onglet "Insertion"/"En-tête/Pied"</a:t>
            </a:r>
            <a:endParaRPr lang="fr-FR" dirty="0"/>
          </a:p>
        </p:txBody>
      </p:sp>
      <p:sp>
        <p:nvSpPr>
          <p:cNvPr id="11" name="Espace réservé du numéro de diapositive 10">
            <a:extLst>
              <a:ext uri="{FF2B5EF4-FFF2-40B4-BE49-F238E27FC236}">
                <a16:creationId xmlns:a16="http://schemas.microsoft.com/office/drawing/2014/main" id="{6DE9E80E-CBBF-3D55-99B3-7F65311E5406}"/>
              </a:ext>
            </a:extLst>
          </p:cNvPr>
          <p:cNvSpPr>
            <a:spLocks noGrp="1"/>
          </p:cNvSpPr>
          <p:nvPr>
            <p:ph type="sldNum" sz="quarter" idx="16"/>
          </p:nvPr>
        </p:nvSpPr>
        <p:spPr/>
        <p:txBody>
          <a:bodyPr/>
          <a:lstStyle>
            <a:lvl1pPr>
              <a:defRPr>
                <a:solidFill>
                  <a:schemeClr val="bg1"/>
                </a:solidFill>
              </a:defRPr>
            </a:lvl1pPr>
          </a:lstStyle>
          <a:p>
            <a:fld id="{0CBC77A0-1F4E-42FF-9FFC-F45C3A64AF90}" type="slidenum">
              <a:rPr lang="fr-FR" smtClean="0"/>
              <a:pPr/>
              <a:t>‹Nr.›</a:t>
            </a:fld>
            <a:endParaRPr lang="fr-FR" dirty="0"/>
          </a:p>
        </p:txBody>
      </p:sp>
      <p:grpSp>
        <p:nvGrpSpPr>
          <p:cNvPr id="17" name="Group 12">
            <a:extLst>
              <a:ext uri="{FF2B5EF4-FFF2-40B4-BE49-F238E27FC236}">
                <a16:creationId xmlns:a16="http://schemas.microsoft.com/office/drawing/2014/main" id="{DFC7A27D-F544-3847-F87B-0DF45C44C0D3}"/>
              </a:ext>
            </a:extLst>
          </p:cNvPr>
          <p:cNvGrpSpPr>
            <a:grpSpLocks noChangeAspect="1"/>
          </p:cNvGrpSpPr>
          <p:nvPr userDrawn="1"/>
        </p:nvGrpSpPr>
        <p:grpSpPr bwMode="auto">
          <a:xfrm>
            <a:off x="200145" y="4757738"/>
            <a:ext cx="237530" cy="237530"/>
            <a:chOff x="461" y="3861"/>
            <a:chExt cx="304" cy="304"/>
          </a:xfrm>
        </p:grpSpPr>
        <p:sp>
          <p:nvSpPr>
            <p:cNvPr id="18" name="AutoShape 11">
              <a:extLst>
                <a:ext uri="{FF2B5EF4-FFF2-40B4-BE49-F238E27FC236}">
                  <a16:creationId xmlns:a16="http://schemas.microsoft.com/office/drawing/2014/main" id="{C581EC54-E4C7-2B85-765F-226E90ED37F9}"/>
                </a:ext>
              </a:extLst>
            </p:cNvPr>
            <p:cNvSpPr>
              <a:spLocks noChangeAspect="1" noChangeArrowheads="1" noTextEdit="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9" name="Rectangle 13">
              <a:extLst>
                <a:ext uri="{FF2B5EF4-FFF2-40B4-BE49-F238E27FC236}">
                  <a16:creationId xmlns:a16="http://schemas.microsoft.com/office/drawing/2014/main" id="{024FFC00-E238-123D-8547-D317547D5C21}"/>
                </a:ext>
              </a:extLst>
            </p:cNvPr>
            <p:cNvSpPr>
              <a:spLocks noChangeArrowheads="1"/>
            </p:cNvSpPr>
            <p:nvPr userDrawn="1"/>
          </p:nvSpPr>
          <p:spPr bwMode="auto">
            <a:xfrm>
              <a:off x="461" y="3861"/>
              <a:ext cx="304" cy="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Rectangle 14">
              <a:extLst>
                <a:ext uri="{FF2B5EF4-FFF2-40B4-BE49-F238E27FC236}">
                  <a16:creationId xmlns:a16="http://schemas.microsoft.com/office/drawing/2014/main" id="{26FC7AA9-98AE-CF10-6510-FBB15BB6F6AD}"/>
                </a:ext>
              </a:extLst>
            </p:cNvPr>
            <p:cNvSpPr>
              <a:spLocks noChangeArrowheads="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1" name="Freeform 15">
              <a:extLst>
                <a:ext uri="{FF2B5EF4-FFF2-40B4-BE49-F238E27FC236}">
                  <a16:creationId xmlns:a16="http://schemas.microsoft.com/office/drawing/2014/main" id="{485E328D-5058-4023-75AE-4DF8C1BAEBCA}"/>
                </a:ext>
              </a:extLst>
            </p:cNvPr>
            <p:cNvSpPr>
              <a:spLocks noEditPoints="1"/>
            </p:cNvSpPr>
            <p:nvPr userDrawn="1"/>
          </p:nvSpPr>
          <p:spPr bwMode="auto">
            <a:xfrm>
              <a:off x="518" y="3962"/>
              <a:ext cx="189" cy="72"/>
            </a:xfrm>
            <a:custGeom>
              <a:avLst/>
              <a:gdLst>
                <a:gd name="T0" fmla="*/ 498 w 498"/>
                <a:gd name="T1" fmla="*/ 96 h 190"/>
                <a:gd name="T2" fmla="*/ 415 w 498"/>
                <a:gd name="T3" fmla="*/ 0 h 190"/>
                <a:gd name="T4" fmla="*/ 350 w 498"/>
                <a:gd name="T5" fmla="*/ 13 h 190"/>
                <a:gd name="T6" fmla="*/ 348 w 498"/>
                <a:gd name="T7" fmla="*/ 37 h 190"/>
                <a:gd name="T8" fmla="*/ 413 w 498"/>
                <a:gd name="T9" fmla="*/ 21 h 190"/>
                <a:gd name="T10" fmla="*/ 463 w 498"/>
                <a:gd name="T11" fmla="*/ 43 h 190"/>
                <a:gd name="T12" fmla="*/ 335 w 498"/>
                <a:gd name="T13" fmla="*/ 141 h 190"/>
                <a:gd name="T14" fmla="*/ 252 w 498"/>
                <a:gd name="T15" fmla="*/ 169 h 190"/>
                <a:gd name="T16" fmla="*/ 199 w 498"/>
                <a:gd name="T17" fmla="*/ 147 h 190"/>
                <a:gd name="T18" fmla="*/ 320 w 498"/>
                <a:gd name="T19" fmla="*/ 34 h 190"/>
                <a:gd name="T20" fmla="*/ 251 w 498"/>
                <a:gd name="T21" fmla="*/ 0 h 190"/>
                <a:gd name="T22" fmla="*/ 188 w 498"/>
                <a:gd name="T23" fmla="*/ 24 h 190"/>
                <a:gd name="T24" fmla="*/ 165 w 498"/>
                <a:gd name="T25" fmla="*/ 98 h 190"/>
                <a:gd name="T26" fmla="*/ 173 w 498"/>
                <a:gd name="T27" fmla="*/ 140 h 190"/>
                <a:gd name="T28" fmla="*/ 85 w 498"/>
                <a:gd name="T29" fmla="*/ 169 h 190"/>
                <a:gd name="T30" fmla="*/ 19 w 498"/>
                <a:gd name="T31" fmla="*/ 95 h 190"/>
                <a:gd name="T32" fmla="*/ 85 w 498"/>
                <a:gd name="T33" fmla="*/ 21 h 190"/>
                <a:gd name="T34" fmla="*/ 150 w 498"/>
                <a:gd name="T35" fmla="*/ 37 h 190"/>
                <a:gd name="T36" fmla="*/ 148 w 498"/>
                <a:gd name="T37" fmla="*/ 13 h 190"/>
                <a:gd name="T38" fmla="*/ 87 w 498"/>
                <a:gd name="T39" fmla="*/ 0 h 190"/>
                <a:gd name="T40" fmla="*/ 0 w 498"/>
                <a:gd name="T41" fmla="*/ 95 h 190"/>
                <a:gd name="T42" fmla="*/ 86 w 498"/>
                <a:gd name="T43" fmla="*/ 190 h 190"/>
                <a:gd name="T44" fmla="*/ 182 w 498"/>
                <a:gd name="T45" fmla="*/ 159 h 190"/>
                <a:gd name="T46" fmla="*/ 251 w 498"/>
                <a:gd name="T47" fmla="*/ 190 h 190"/>
                <a:gd name="T48" fmla="*/ 338 w 498"/>
                <a:gd name="T49" fmla="*/ 164 h 190"/>
                <a:gd name="T50" fmla="*/ 411 w 498"/>
                <a:gd name="T51" fmla="*/ 190 h 190"/>
                <a:gd name="T52" fmla="*/ 477 w 498"/>
                <a:gd name="T53" fmla="*/ 163 h 190"/>
                <a:gd name="T54" fmla="*/ 478 w 498"/>
                <a:gd name="T55" fmla="*/ 185 h 190"/>
                <a:gd name="T56" fmla="*/ 498 w 498"/>
                <a:gd name="T57" fmla="*/ 189 h 190"/>
                <a:gd name="T58" fmla="*/ 498 w 498"/>
                <a:gd name="T59" fmla="*/ 96 h 190"/>
                <a:gd name="T60" fmla="*/ 184 w 498"/>
                <a:gd name="T61" fmla="*/ 107 h 190"/>
                <a:gd name="T62" fmla="*/ 201 w 498"/>
                <a:gd name="T63" fmla="*/ 39 h 190"/>
                <a:gd name="T64" fmla="*/ 251 w 498"/>
                <a:gd name="T65" fmla="*/ 19 h 190"/>
                <a:gd name="T66" fmla="*/ 297 w 498"/>
                <a:gd name="T67" fmla="*/ 37 h 190"/>
                <a:gd name="T68" fmla="*/ 261 w 498"/>
                <a:gd name="T69" fmla="*/ 78 h 190"/>
                <a:gd name="T70" fmla="*/ 190 w 498"/>
                <a:gd name="T71" fmla="*/ 128 h 190"/>
                <a:gd name="T72" fmla="*/ 184 w 498"/>
                <a:gd name="T73" fmla="*/ 107 h 190"/>
                <a:gd name="T74" fmla="*/ 462 w 498"/>
                <a:gd name="T75" fmla="*/ 151 h 190"/>
                <a:gd name="T76" fmla="*/ 411 w 498"/>
                <a:gd name="T77" fmla="*/ 170 h 190"/>
                <a:gd name="T78" fmla="*/ 356 w 498"/>
                <a:gd name="T79" fmla="*/ 151 h 190"/>
                <a:gd name="T80" fmla="*/ 472 w 498"/>
                <a:gd name="T81" fmla="*/ 60 h 190"/>
                <a:gd name="T82" fmla="*/ 479 w 498"/>
                <a:gd name="T83" fmla="*/ 83 h 190"/>
                <a:gd name="T84" fmla="*/ 462 w 498"/>
                <a:gd name="T85"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190">
                  <a:moveTo>
                    <a:pt x="498" y="96"/>
                  </a:moveTo>
                  <a:cubicBezTo>
                    <a:pt x="498" y="6"/>
                    <a:pt x="430" y="0"/>
                    <a:pt x="415" y="0"/>
                  </a:cubicBezTo>
                  <a:cubicBezTo>
                    <a:pt x="393" y="0"/>
                    <a:pt x="372" y="4"/>
                    <a:pt x="350" y="13"/>
                  </a:cubicBezTo>
                  <a:cubicBezTo>
                    <a:pt x="348" y="37"/>
                    <a:pt x="348" y="37"/>
                    <a:pt x="348" y="37"/>
                  </a:cubicBezTo>
                  <a:cubicBezTo>
                    <a:pt x="357" y="33"/>
                    <a:pt x="385" y="21"/>
                    <a:pt x="413" y="21"/>
                  </a:cubicBezTo>
                  <a:cubicBezTo>
                    <a:pt x="435" y="21"/>
                    <a:pt x="452" y="28"/>
                    <a:pt x="463" y="43"/>
                  </a:cubicBezTo>
                  <a:cubicBezTo>
                    <a:pt x="387" y="82"/>
                    <a:pt x="342" y="114"/>
                    <a:pt x="335" y="141"/>
                  </a:cubicBezTo>
                  <a:cubicBezTo>
                    <a:pt x="316" y="154"/>
                    <a:pt x="282" y="169"/>
                    <a:pt x="252" y="169"/>
                  </a:cubicBezTo>
                  <a:cubicBezTo>
                    <a:pt x="219" y="169"/>
                    <a:pt x="205" y="155"/>
                    <a:pt x="199" y="147"/>
                  </a:cubicBezTo>
                  <a:cubicBezTo>
                    <a:pt x="282" y="91"/>
                    <a:pt x="325" y="59"/>
                    <a:pt x="320" y="34"/>
                  </a:cubicBezTo>
                  <a:cubicBezTo>
                    <a:pt x="315" y="11"/>
                    <a:pt x="281" y="0"/>
                    <a:pt x="251" y="0"/>
                  </a:cubicBezTo>
                  <a:cubicBezTo>
                    <a:pt x="219" y="0"/>
                    <a:pt x="198" y="13"/>
                    <a:pt x="188" y="24"/>
                  </a:cubicBezTo>
                  <a:cubicBezTo>
                    <a:pt x="172" y="41"/>
                    <a:pt x="164" y="66"/>
                    <a:pt x="165" y="98"/>
                  </a:cubicBezTo>
                  <a:cubicBezTo>
                    <a:pt x="165" y="112"/>
                    <a:pt x="168" y="127"/>
                    <a:pt x="173" y="140"/>
                  </a:cubicBezTo>
                  <a:cubicBezTo>
                    <a:pt x="160" y="148"/>
                    <a:pt x="125" y="169"/>
                    <a:pt x="85" y="169"/>
                  </a:cubicBezTo>
                  <a:cubicBezTo>
                    <a:pt x="38" y="169"/>
                    <a:pt x="19" y="132"/>
                    <a:pt x="19" y="95"/>
                  </a:cubicBezTo>
                  <a:cubicBezTo>
                    <a:pt x="19" y="59"/>
                    <a:pt x="37" y="21"/>
                    <a:pt x="85" y="21"/>
                  </a:cubicBezTo>
                  <a:cubicBezTo>
                    <a:pt x="113" y="21"/>
                    <a:pt x="140" y="32"/>
                    <a:pt x="150" y="37"/>
                  </a:cubicBezTo>
                  <a:cubicBezTo>
                    <a:pt x="148" y="13"/>
                    <a:pt x="148" y="13"/>
                    <a:pt x="148" y="13"/>
                  </a:cubicBezTo>
                  <a:cubicBezTo>
                    <a:pt x="130" y="6"/>
                    <a:pt x="107" y="0"/>
                    <a:pt x="87" y="0"/>
                  </a:cubicBezTo>
                  <a:cubicBezTo>
                    <a:pt x="7" y="0"/>
                    <a:pt x="0" y="67"/>
                    <a:pt x="0" y="95"/>
                  </a:cubicBezTo>
                  <a:cubicBezTo>
                    <a:pt x="0" y="122"/>
                    <a:pt x="7" y="190"/>
                    <a:pt x="86" y="190"/>
                  </a:cubicBezTo>
                  <a:cubicBezTo>
                    <a:pt x="134" y="190"/>
                    <a:pt x="175" y="164"/>
                    <a:pt x="182" y="159"/>
                  </a:cubicBezTo>
                  <a:cubicBezTo>
                    <a:pt x="187" y="168"/>
                    <a:pt x="208" y="190"/>
                    <a:pt x="251" y="190"/>
                  </a:cubicBezTo>
                  <a:cubicBezTo>
                    <a:pt x="286" y="190"/>
                    <a:pt x="325" y="173"/>
                    <a:pt x="338" y="164"/>
                  </a:cubicBezTo>
                  <a:cubicBezTo>
                    <a:pt x="346" y="175"/>
                    <a:pt x="362" y="190"/>
                    <a:pt x="411" y="190"/>
                  </a:cubicBezTo>
                  <a:cubicBezTo>
                    <a:pt x="444" y="190"/>
                    <a:pt x="464" y="179"/>
                    <a:pt x="477" y="163"/>
                  </a:cubicBezTo>
                  <a:cubicBezTo>
                    <a:pt x="477" y="171"/>
                    <a:pt x="478" y="179"/>
                    <a:pt x="478" y="185"/>
                  </a:cubicBezTo>
                  <a:cubicBezTo>
                    <a:pt x="498" y="189"/>
                    <a:pt x="498" y="189"/>
                    <a:pt x="498" y="189"/>
                  </a:cubicBezTo>
                  <a:cubicBezTo>
                    <a:pt x="497" y="168"/>
                    <a:pt x="498" y="97"/>
                    <a:pt x="498" y="96"/>
                  </a:cubicBezTo>
                  <a:moveTo>
                    <a:pt x="184" y="107"/>
                  </a:moveTo>
                  <a:cubicBezTo>
                    <a:pt x="184" y="107"/>
                    <a:pt x="178" y="65"/>
                    <a:pt x="201" y="39"/>
                  </a:cubicBezTo>
                  <a:cubicBezTo>
                    <a:pt x="212" y="26"/>
                    <a:pt x="229" y="19"/>
                    <a:pt x="251" y="19"/>
                  </a:cubicBezTo>
                  <a:cubicBezTo>
                    <a:pt x="275" y="19"/>
                    <a:pt x="295" y="28"/>
                    <a:pt x="297" y="37"/>
                  </a:cubicBezTo>
                  <a:cubicBezTo>
                    <a:pt x="299" y="44"/>
                    <a:pt x="292" y="53"/>
                    <a:pt x="261" y="78"/>
                  </a:cubicBezTo>
                  <a:cubicBezTo>
                    <a:pt x="261" y="78"/>
                    <a:pt x="230" y="105"/>
                    <a:pt x="190" y="128"/>
                  </a:cubicBezTo>
                  <a:cubicBezTo>
                    <a:pt x="187" y="122"/>
                    <a:pt x="185" y="115"/>
                    <a:pt x="184" y="107"/>
                  </a:cubicBezTo>
                  <a:moveTo>
                    <a:pt x="462" y="151"/>
                  </a:moveTo>
                  <a:cubicBezTo>
                    <a:pt x="450" y="164"/>
                    <a:pt x="433" y="170"/>
                    <a:pt x="411" y="170"/>
                  </a:cubicBezTo>
                  <a:cubicBezTo>
                    <a:pt x="361" y="170"/>
                    <a:pt x="356" y="151"/>
                    <a:pt x="356" y="151"/>
                  </a:cubicBezTo>
                  <a:cubicBezTo>
                    <a:pt x="350" y="140"/>
                    <a:pt x="367" y="116"/>
                    <a:pt x="472" y="60"/>
                  </a:cubicBezTo>
                  <a:cubicBezTo>
                    <a:pt x="475" y="67"/>
                    <a:pt x="477" y="75"/>
                    <a:pt x="479" y="83"/>
                  </a:cubicBezTo>
                  <a:cubicBezTo>
                    <a:pt x="479" y="83"/>
                    <a:pt x="484" y="125"/>
                    <a:pt x="462" y="15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Rectangle 16">
              <a:extLst>
                <a:ext uri="{FF2B5EF4-FFF2-40B4-BE49-F238E27FC236}">
                  <a16:creationId xmlns:a16="http://schemas.microsoft.com/office/drawing/2014/main" id="{B32124BB-315A-4642-3185-D0F09F05E9F3}"/>
                </a:ext>
              </a:extLst>
            </p:cNvPr>
            <p:cNvSpPr>
              <a:spLocks noChangeArrowheads="1"/>
            </p:cNvSpPr>
            <p:nvPr userDrawn="1"/>
          </p:nvSpPr>
          <p:spPr bwMode="auto">
            <a:xfrm>
              <a:off x="526" y="4057"/>
              <a:ext cx="174"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3" name="Rectangle 17">
              <a:extLst>
                <a:ext uri="{FF2B5EF4-FFF2-40B4-BE49-F238E27FC236}">
                  <a16:creationId xmlns:a16="http://schemas.microsoft.com/office/drawing/2014/main" id="{283D2C2C-F437-0747-2745-E4E3B6D20760}"/>
                </a:ext>
              </a:extLst>
            </p:cNvPr>
            <p:cNvSpPr>
              <a:spLocks noChangeArrowheads="1"/>
            </p:cNvSpPr>
            <p:nvPr userDrawn="1"/>
          </p:nvSpPr>
          <p:spPr bwMode="auto">
            <a:xfrm>
              <a:off x="526" y="4057"/>
              <a:ext cx="174" cy="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2" name="Espace réservé du contenu 2">
            <a:extLst>
              <a:ext uri="{FF2B5EF4-FFF2-40B4-BE49-F238E27FC236}">
                <a16:creationId xmlns:a16="http://schemas.microsoft.com/office/drawing/2014/main" id="{2D5ECB44-F5B7-CEEC-4B2D-A554A8F1E21F}"/>
              </a:ext>
            </a:extLst>
          </p:cNvPr>
          <p:cNvSpPr>
            <a:spLocks noGrp="1"/>
          </p:cNvSpPr>
          <p:nvPr>
            <p:ph idx="1"/>
          </p:nvPr>
        </p:nvSpPr>
        <p:spPr>
          <a:xfrm>
            <a:off x="548879" y="1035844"/>
            <a:ext cx="3915000" cy="3399235"/>
          </a:xfrm>
        </p:spPr>
        <p:txBody>
          <a:bodyPr numCol="1"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6" name="Espace réservé du contenu 2">
            <a:extLst>
              <a:ext uri="{FF2B5EF4-FFF2-40B4-BE49-F238E27FC236}">
                <a16:creationId xmlns:a16="http://schemas.microsoft.com/office/drawing/2014/main" id="{E4B43398-30BC-703C-A14C-DC9A429930A3}"/>
              </a:ext>
            </a:extLst>
          </p:cNvPr>
          <p:cNvSpPr>
            <a:spLocks noGrp="1"/>
          </p:cNvSpPr>
          <p:nvPr>
            <p:ph idx="13"/>
          </p:nvPr>
        </p:nvSpPr>
        <p:spPr>
          <a:xfrm>
            <a:off x="4680122" y="1035844"/>
            <a:ext cx="3915000" cy="3399235"/>
          </a:xfrm>
        </p:spPr>
        <p:txBody>
          <a:bodyPr numCol="1" spcCol="36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7" name="Titre 1">
            <a:extLst>
              <a:ext uri="{FF2B5EF4-FFF2-40B4-BE49-F238E27FC236}">
                <a16:creationId xmlns:a16="http://schemas.microsoft.com/office/drawing/2014/main" id="{44B12903-F071-BF45-FDEC-76B53C495452}"/>
              </a:ext>
            </a:extLst>
          </p:cNvPr>
          <p:cNvSpPr>
            <a:spLocks noGrp="1"/>
          </p:cNvSpPr>
          <p:nvPr>
            <p:ph type="title"/>
          </p:nvPr>
        </p:nvSpPr>
        <p:spPr>
          <a:xfrm>
            <a:off x="548879" y="235528"/>
            <a:ext cx="8046244" cy="653870"/>
          </a:xfrm>
        </p:spPr>
        <p:txBody>
          <a:bodyPr/>
          <a:lstStyle>
            <a:lvl1pPr>
              <a:defRPr>
                <a:solidFill>
                  <a:schemeClr val="bg1"/>
                </a:solidFill>
              </a:defRPr>
            </a:lvl1pPr>
          </a:lstStyle>
          <a:p>
            <a:r>
              <a:rPr lang="fr-FR"/>
              <a:t>Modifiez le style du titre</a:t>
            </a:r>
            <a:endParaRPr lang="fr-FR" dirty="0"/>
          </a:p>
        </p:txBody>
      </p:sp>
    </p:spTree>
    <p:extLst>
      <p:ext uri="{BB962C8B-B14F-4D97-AF65-F5344CB8AC3E}">
        <p14:creationId xmlns:p14="http://schemas.microsoft.com/office/powerpoint/2010/main" val="35670322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u + visuel">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r>
              <a:rPr lang="fr-FR"/>
              <a:t>28/10/2022</a:t>
            </a:r>
          </a:p>
        </p:txBody>
      </p:sp>
      <p:sp>
        <p:nvSpPr>
          <p:cNvPr id="5" name="Espace réservé du pied de page 4">
            <a:extLst>
              <a:ext uri="{FF2B5EF4-FFF2-40B4-BE49-F238E27FC236}">
                <a16:creationId xmlns:a16="http://schemas.microsoft.com/office/drawing/2014/main" id="{E674BCD5-99F2-142E-3FEE-1ACCB474B9C4}"/>
              </a:ext>
            </a:extLst>
          </p:cNvPr>
          <p:cNvSpPr>
            <a:spLocks noGrp="1"/>
          </p:cNvSpPr>
          <p:nvPr>
            <p:ph type="ftr" sz="quarter" idx="11"/>
          </p:nvPr>
        </p:nvSpPr>
        <p:spPr/>
        <p:txBody>
          <a:bodyPr/>
          <a:lstStyle/>
          <a:p>
            <a:r>
              <a:rPr lang="fr-FR" dirty="0"/>
              <a:t>A. DURIF et al - </a:t>
            </a:r>
            <a:r>
              <a:rPr lang="fr-FR" dirty="0" err="1"/>
              <a:t>Tervaniemi</a:t>
            </a:r>
            <a:r>
              <a:rPr lang="fr-FR" dirty="0"/>
              <a:t> meeting – 06/02/2024</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Contenu + visuel</a:t>
            </a:r>
          </a:p>
          <a:p>
            <a:endParaRPr lang="fr-FR" sz="900" dirty="0">
              <a:solidFill>
                <a:schemeClr val="bg1">
                  <a:lumMod val="50000"/>
                </a:schemeClr>
              </a:solidFill>
            </a:endParaRPr>
          </a:p>
        </p:txBody>
      </p:sp>
      <p:sp>
        <p:nvSpPr>
          <p:cNvPr id="29" name="Espace réservé pour une image  28">
            <a:extLst>
              <a:ext uri="{FF2B5EF4-FFF2-40B4-BE49-F238E27FC236}">
                <a16:creationId xmlns:a16="http://schemas.microsoft.com/office/drawing/2014/main" id="{DCB96DEF-5249-666B-576F-70AC92D06638}"/>
              </a:ext>
            </a:extLst>
          </p:cNvPr>
          <p:cNvSpPr>
            <a:spLocks noGrp="1"/>
          </p:cNvSpPr>
          <p:nvPr>
            <p:ph type="pic" sz="quarter" idx="13" hasCustomPrompt="1"/>
          </p:nvPr>
        </p:nvSpPr>
        <p:spPr>
          <a:xfrm>
            <a:off x="5261613" y="0"/>
            <a:ext cx="4468067" cy="5143500"/>
          </a:xfrm>
          <a:custGeom>
            <a:avLst/>
            <a:gdLst>
              <a:gd name="connsiteX0" fmla="*/ 738225 w 5957423"/>
              <a:gd name="connsiteY0" fmla="*/ 6793932 h 6858000"/>
              <a:gd name="connsiteX1" fmla="*/ 814828 w 5957423"/>
              <a:gd name="connsiteY1" fmla="*/ 6852286 h 6858000"/>
              <a:gd name="connsiteX2" fmla="*/ 822329 w 5957423"/>
              <a:gd name="connsiteY2" fmla="*/ 6858000 h 6858000"/>
              <a:gd name="connsiteX3" fmla="*/ 655724 w 5957423"/>
              <a:gd name="connsiteY3" fmla="*/ 6858000 h 6858000"/>
              <a:gd name="connsiteX4" fmla="*/ 656989 w 5957423"/>
              <a:gd name="connsiteY4" fmla="*/ 6857017 h 6858000"/>
              <a:gd name="connsiteX5" fmla="*/ 738225 w 5957423"/>
              <a:gd name="connsiteY5" fmla="*/ 6793932 h 6858000"/>
              <a:gd name="connsiteX6" fmla="*/ 733493 w 5957423"/>
              <a:gd name="connsiteY6" fmla="*/ 6434348 h 6858000"/>
              <a:gd name="connsiteX7" fmla="*/ 733493 w 5957423"/>
              <a:gd name="connsiteY7" fmla="*/ 6780527 h 6858000"/>
              <a:gd name="connsiteX8" fmla="*/ 639637 w 5957423"/>
              <a:gd name="connsiteY8" fmla="*/ 6853075 h 6858000"/>
              <a:gd name="connsiteX9" fmla="*/ 656989 w 5957423"/>
              <a:gd name="connsiteY9" fmla="*/ 6857017 h 6858000"/>
              <a:gd name="connsiteX10" fmla="*/ 638848 w 5957423"/>
              <a:gd name="connsiteY10" fmla="*/ 6853863 h 6858000"/>
              <a:gd name="connsiteX11" fmla="*/ 633515 w 5957423"/>
              <a:gd name="connsiteY11" fmla="*/ 6858000 h 6858000"/>
              <a:gd name="connsiteX12" fmla="*/ 371479 w 5957423"/>
              <a:gd name="connsiteY12" fmla="*/ 6858000 h 6858000"/>
              <a:gd name="connsiteX13" fmla="*/ 371479 w 5957423"/>
              <a:gd name="connsiteY13" fmla="*/ 6799592 h 6858000"/>
              <a:gd name="connsiteX14" fmla="*/ 371479 w 5957423"/>
              <a:gd name="connsiteY14" fmla="*/ 6715076 h 6858000"/>
              <a:gd name="connsiteX15" fmla="*/ 733493 w 5957423"/>
              <a:gd name="connsiteY15" fmla="*/ 6434348 h 6858000"/>
              <a:gd name="connsiteX16" fmla="*/ 1106548 w 5957423"/>
              <a:gd name="connsiteY16" fmla="*/ 5786939 h 6858000"/>
              <a:gd name="connsiteX17" fmla="*/ 1106548 w 5957423"/>
              <a:gd name="connsiteY17" fmla="*/ 6133906 h 6858000"/>
              <a:gd name="connsiteX18" fmla="*/ 1012693 w 5957423"/>
              <a:gd name="connsiteY18" fmla="*/ 6206454 h 6858000"/>
              <a:gd name="connsiteX19" fmla="*/ 744534 w 5957423"/>
              <a:gd name="connsiteY19" fmla="*/ 6413845 h 6858000"/>
              <a:gd name="connsiteX20" fmla="*/ 744534 w 5957423"/>
              <a:gd name="connsiteY20" fmla="*/ 6067667 h 6858000"/>
              <a:gd name="connsiteX21" fmla="*/ 873093 w 5957423"/>
              <a:gd name="connsiteY21" fmla="*/ 5968308 h 6858000"/>
              <a:gd name="connsiteX22" fmla="*/ 1106548 w 5957423"/>
              <a:gd name="connsiteY22" fmla="*/ 5786939 h 6858000"/>
              <a:gd name="connsiteX23" fmla="*/ 1739875 w 5957423"/>
              <a:gd name="connsiteY23" fmla="*/ 5671020 h 6858000"/>
              <a:gd name="connsiteX24" fmla="*/ 1726467 w 5957423"/>
              <a:gd name="connsiteY24" fmla="*/ 5677328 h 6858000"/>
              <a:gd name="connsiteX25" fmla="*/ 1739875 w 5957423"/>
              <a:gd name="connsiteY25" fmla="*/ 5671020 h 6858000"/>
              <a:gd name="connsiteX26" fmla="*/ 1488280 w 5957423"/>
              <a:gd name="connsiteY26" fmla="*/ 5495959 h 6858000"/>
              <a:gd name="connsiteX27" fmla="*/ 1726467 w 5957423"/>
              <a:gd name="connsiteY27" fmla="*/ 5677328 h 6858000"/>
              <a:gd name="connsiteX28" fmla="*/ 1853448 w 5957423"/>
              <a:gd name="connsiteY28" fmla="*/ 5773533 h 6858000"/>
              <a:gd name="connsiteX29" fmla="*/ 1489068 w 5957423"/>
              <a:gd name="connsiteY29" fmla="*/ 6056627 h 6858000"/>
              <a:gd name="connsiteX30" fmla="*/ 1123900 w 5957423"/>
              <a:gd name="connsiteY30" fmla="*/ 5779053 h 6858000"/>
              <a:gd name="connsiteX31" fmla="*/ 1488280 w 5957423"/>
              <a:gd name="connsiteY31" fmla="*/ 5495959 h 6858000"/>
              <a:gd name="connsiteX32" fmla="*/ 359648 w 5957423"/>
              <a:gd name="connsiteY32" fmla="*/ 4847761 h 6858000"/>
              <a:gd name="connsiteX33" fmla="*/ 724817 w 5957423"/>
              <a:gd name="connsiteY33" fmla="*/ 5125335 h 6858000"/>
              <a:gd name="connsiteX34" fmla="*/ 487418 w 5957423"/>
              <a:gd name="connsiteY34" fmla="*/ 5309070 h 6858000"/>
              <a:gd name="connsiteX35" fmla="*/ 493727 w 5957423"/>
              <a:gd name="connsiteY35" fmla="*/ 5320110 h 6858000"/>
              <a:gd name="connsiteX36" fmla="*/ 733493 w 5957423"/>
              <a:gd name="connsiteY36" fmla="*/ 5134798 h 6858000"/>
              <a:gd name="connsiteX37" fmla="*/ 733493 w 5957423"/>
              <a:gd name="connsiteY37" fmla="*/ 5480976 h 6858000"/>
              <a:gd name="connsiteX38" fmla="*/ 633328 w 5957423"/>
              <a:gd name="connsiteY38" fmla="*/ 5558256 h 6858000"/>
              <a:gd name="connsiteX39" fmla="*/ 641215 w 5957423"/>
              <a:gd name="connsiteY39" fmla="*/ 5570873 h 6858000"/>
              <a:gd name="connsiteX40" fmla="*/ 737436 w 5957423"/>
              <a:gd name="connsiteY40" fmla="*/ 5495959 h 6858000"/>
              <a:gd name="connsiteX41" fmla="*/ 1102605 w 5957423"/>
              <a:gd name="connsiteY41" fmla="*/ 5773533 h 6858000"/>
              <a:gd name="connsiteX42" fmla="*/ 866783 w 5957423"/>
              <a:gd name="connsiteY42" fmla="*/ 5956479 h 6858000"/>
              <a:gd name="connsiteX43" fmla="*/ 873093 w 5957423"/>
              <a:gd name="connsiteY43" fmla="*/ 5968308 h 6858000"/>
              <a:gd name="connsiteX44" fmla="*/ 865994 w 5957423"/>
              <a:gd name="connsiteY44" fmla="*/ 5957268 h 6858000"/>
              <a:gd name="connsiteX45" fmla="*/ 738225 w 5957423"/>
              <a:gd name="connsiteY45" fmla="*/ 6056627 h 6858000"/>
              <a:gd name="connsiteX46" fmla="*/ 373056 w 5957423"/>
              <a:gd name="connsiteY46" fmla="*/ 5779053 h 6858000"/>
              <a:gd name="connsiteX47" fmla="*/ 640426 w 5957423"/>
              <a:gd name="connsiteY47" fmla="*/ 5571661 h 6858000"/>
              <a:gd name="connsiteX48" fmla="*/ 633328 w 5957423"/>
              <a:gd name="connsiteY48" fmla="*/ 5559044 h 6858000"/>
              <a:gd name="connsiteX49" fmla="*/ 371479 w 5957423"/>
              <a:gd name="connsiteY49" fmla="*/ 5761705 h 6858000"/>
              <a:gd name="connsiteX50" fmla="*/ 371479 w 5957423"/>
              <a:gd name="connsiteY50" fmla="*/ 5415526 h 6858000"/>
              <a:gd name="connsiteX51" fmla="*/ 493727 w 5957423"/>
              <a:gd name="connsiteY51" fmla="*/ 5320898 h 6858000"/>
              <a:gd name="connsiteX52" fmla="*/ 486629 w 5957423"/>
              <a:gd name="connsiteY52" fmla="*/ 5309070 h 6858000"/>
              <a:gd name="connsiteX53" fmla="*/ 365169 w 5957423"/>
              <a:gd name="connsiteY53" fmla="*/ 5403697 h 6858000"/>
              <a:gd name="connsiteX54" fmla="*/ 0 w 5957423"/>
              <a:gd name="connsiteY54" fmla="*/ 5126124 h 6858000"/>
              <a:gd name="connsiteX55" fmla="*/ 359648 w 5957423"/>
              <a:gd name="connsiteY55" fmla="*/ 4847761 h 6858000"/>
              <a:gd name="connsiteX56" fmla="*/ 1106548 w 5957423"/>
              <a:gd name="connsiteY56" fmla="*/ 4487388 h 6858000"/>
              <a:gd name="connsiteX57" fmla="*/ 1106548 w 5957423"/>
              <a:gd name="connsiteY57" fmla="*/ 4833567 h 6858000"/>
              <a:gd name="connsiteX58" fmla="*/ 1018214 w 5957423"/>
              <a:gd name="connsiteY58" fmla="*/ 4902172 h 6858000"/>
              <a:gd name="connsiteX59" fmla="*/ 1025312 w 5957423"/>
              <a:gd name="connsiteY59" fmla="*/ 4913212 h 6858000"/>
              <a:gd name="connsiteX60" fmla="*/ 1017425 w 5957423"/>
              <a:gd name="connsiteY60" fmla="*/ 4902960 h 6858000"/>
              <a:gd name="connsiteX61" fmla="*/ 744534 w 5957423"/>
              <a:gd name="connsiteY61" fmla="*/ 5114295 h 6858000"/>
              <a:gd name="connsiteX62" fmla="*/ 744534 w 5957423"/>
              <a:gd name="connsiteY62" fmla="*/ 4768116 h 6858000"/>
              <a:gd name="connsiteX63" fmla="*/ 856530 w 5957423"/>
              <a:gd name="connsiteY63" fmla="*/ 4680586 h 6858000"/>
              <a:gd name="connsiteX64" fmla="*/ 849432 w 5957423"/>
              <a:gd name="connsiteY64" fmla="*/ 4670335 h 6858000"/>
              <a:gd name="connsiteX65" fmla="*/ 857319 w 5957423"/>
              <a:gd name="connsiteY65" fmla="*/ 4680586 h 6858000"/>
              <a:gd name="connsiteX66" fmla="*/ 1106548 w 5957423"/>
              <a:gd name="connsiteY66" fmla="*/ 4487388 h 6858000"/>
              <a:gd name="connsiteX67" fmla="*/ 737436 w 5957423"/>
              <a:gd name="connsiteY67" fmla="*/ 4196409 h 6858000"/>
              <a:gd name="connsiteX68" fmla="*/ 1102605 w 5957423"/>
              <a:gd name="connsiteY68" fmla="*/ 4473983 h 6858000"/>
              <a:gd name="connsiteX69" fmla="*/ 849432 w 5957423"/>
              <a:gd name="connsiteY69" fmla="*/ 4670335 h 6858000"/>
              <a:gd name="connsiteX70" fmla="*/ 738225 w 5957423"/>
              <a:gd name="connsiteY70" fmla="*/ 4756288 h 6858000"/>
              <a:gd name="connsiteX71" fmla="*/ 373056 w 5957423"/>
              <a:gd name="connsiteY71" fmla="*/ 4478714 h 6858000"/>
              <a:gd name="connsiteX72" fmla="*/ 737436 w 5957423"/>
              <a:gd name="connsiteY72" fmla="*/ 4196409 h 6858000"/>
              <a:gd name="connsiteX73" fmla="*/ 1115224 w 5957423"/>
              <a:gd name="connsiteY73" fmla="*/ 3544268 h 6858000"/>
              <a:gd name="connsiteX74" fmla="*/ 1125477 w 5957423"/>
              <a:gd name="connsiteY74" fmla="*/ 3552154 h 6858000"/>
              <a:gd name="connsiteX75" fmla="*/ 1480393 w 5957423"/>
              <a:gd name="connsiteY75" fmla="*/ 3821842 h 6858000"/>
              <a:gd name="connsiteX76" fmla="*/ 1116013 w 5957423"/>
              <a:gd name="connsiteY76" fmla="*/ 4104935 h 6858000"/>
              <a:gd name="connsiteX77" fmla="*/ 750844 w 5957423"/>
              <a:gd name="connsiteY77" fmla="*/ 3826573 h 6858000"/>
              <a:gd name="connsiteX78" fmla="*/ 1115224 w 5957423"/>
              <a:gd name="connsiteY78" fmla="*/ 3544268 h 6858000"/>
              <a:gd name="connsiteX79" fmla="*/ 1480393 w 5957423"/>
              <a:gd name="connsiteY79" fmla="*/ 2538851 h 6858000"/>
              <a:gd name="connsiteX80" fmla="*/ 1480393 w 5957423"/>
              <a:gd name="connsiteY80" fmla="*/ 2885030 h 6858000"/>
              <a:gd name="connsiteX81" fmla="*/ 1386537 w 5957423"/>
              <a:gd name="connsiteY81" fmla="*/ 2957578 h 6858000"/>
              <a:gd name="connsiteX82" fmla="*/ 1392847 w 5957423"/>
              <a:gd name="connsiteY82" fmla="*/ 2969406 h 6858000"/>
              <a:gd name="connsiteX83" fmla="*/ 1385748 w 5957423"/>
              <a:gd name="connsiteY83" fmla="*/ 2958366 h 6858000"/>
              <a:gd name="connsiteX84" fmla="*/ 1118379 w 5957423"/>
              <a:gd name="connsiteY84" fmla="*/ 3165758 h 6858000"/>
              <a:gd name="connsiteX85" fmla="*/ 1118379 w 5957423"/>
              <a:gd name="connsiteY85" fmla="*/ 2819579 h 6858000"/>
              <a:gd name="connsiteX86" fmla="*/ 1246148 w 5957423"/>
              <a:gd name="connsiteY86" fmla="*/ 2720221 h 6858000"/>
              <a:gd name="connsiteX87" fmla="*/ 1239839 w 5957423"/>
              <a:gd name="connsiteY87" fmla="*/ 2708392 h 6858000"/>
              <a:gd name="connsiteX88" fmla="*/ 1246937 w 5957423"/>
              <a:gd name="connsiteY88" fmla="*/ 2719432 h 6858000"/>
              <a:gd name="connsiteX89" fmla="*/ 1480393 w 5957423"/>
              <a:gd name="connsiteY89" fmla="*/ 2538851 h 6858000"/>
              <a:gd name="connsiteX90" fmla="*/ 732704 w 5957423"/>
              <a:gd name="connsiteY90" fmla="*/ 1598885 h 6858000"/>
              <a:gd name="connsiteX91" fmla="*/ 1097873 w 5957423"/>
              <a:gd name="connsiteY91" fmla="*/ 1876459 h 6858000"/>
              <a:gd name="connsiteX92" fmla="*/ 860473 w 5957423"/>
              <a:gd name="connsiteY92" fmla="*/ 2060194 h 6858000"/>
              <a:gd name="connsiteX93" fmla="*/ 867572 w 5957423"/>
              <a:gd name="connsiteY93" fmla="*/ 2072022 h 6858000"/>
              <a:gd name="connsiteX94" fmla="*/ 1106548 w 5957423"/>
              <a:gd name="connsiteY94" fmla="*/ 1885922 h 6858000"/>
              <a:gd name="connsiteX95" fmla="*/ 1106548 w 5957423"/>
              <a:gd name="connsiteY95" fmla="*/ 2232889 h 6858000"/>
              <a:gd name="connsiteX96" fmla="*/ 1007172 w 5957423"/>
              <a:gd name="connsiteY96" fmla="*/ 2310168 h 6858000"/>
              <a:gd name="connsiteX97" fmla="*/ 1014270 w 5957423"/>
              <a:gd name="connsiteY97" fmla="*/ 2322785 h 6858000"/>
              <a:gd name="connsiteX98" fmla="*/ 1110492 w 5957423"/>
              <a:gd name="connsiteY98" fmla="*/ 2247872 h 6858000"/>
              <a:gd name="connsiteX99" fmla="*/ 1475660 w 5957423"/>
              <a:gd name="connsiteY99" fmla="*/ 2525446 h 6858000"/>
              <a:gd name="connsiteX100" fmla="*/ 1239839 w 5957423"/>
              <a:gd name="connsiteY100" fmla="*/ 2708392 h 6858000"/>
              <a:gd name="connsiteX101" fmla="*/ 1112069 w 5957423"/>
              <a:gd name="connsiteY101" fmla="*/ 2807751 h 6858000"/>
              <a:gd name="connsiteX102" fmla="*/ 746900 w 5957423"/>
              <a:gd name="connsiteY102" fmla="*/ 2530177 h 6858000"/>
              <a:gd name="connsiteX103" fmla="*/ 1013481 w 5957423"/>
              <a:gd name="connsiteY103" fmla="*/ 2322785 h 6858000"/>
              <a:gd name="connsiteX104" fmla="*/ 1006383 w 5957423"/>
              <a:gd name="connsiteY104" fmla="*/ 2310168 h 6858000"/>
              <a:gd name="connsiteX105" fmla="*/ 744534 w 5957423"/>
              <a:gd name="connsiteY105" fmla="*/ 2513617 h 6858000"/>
              <a:gd name="connsiteX106" fmla="*/ 744534 w 5957423"/>
              <a:gd name="connsiteY106" fmla="*/ 2166650 h 6858000"/>
              <a:gd name="connsiteX107" fmla="*/ 866783 w 5957423"/>
              <a:gd name="connsiteY107" fmla="*/ 2072022 h 6858000"/>
              <a:gd name="connsiteX108" fmla="*/ 860473 w 5957423"/>
              <a:gd name="connsiteY108" fmla="*/ 2060983 h 6858000"/>
              <a:gd name="connsiteX109" fmla="*/ 738225 w 5957423"/>
              <a:gd name="connsiteY109" fmla="*/ 2155610 h 6858000"/>
              <a:gd name="connsiteX110" fmla="*/ 373056 w 5957423"/>
              <a:gd name="connsiteY110" fmla="*/ 1878036 h 6858000"/>
              <a:gd name="connsiteX111" fmla="*/ 732704 w 5957423"/>
              <a:gd name="connsiteY111" fmla="*/ 1598885 h 6858000"/>
              <a:gd name="connsiteX112" fmla="*/ 1480393 w 5957423"/>
              <a:gd name="connsiteY112" fmla="*/ 1238512 h 6858000"/>
              <a:gd name="connsiteX113" fmla="*/ 1480393 w 5957423"/>
              <a:gd name="connsiteY113" fmla="*/ 1585480 h 6858000"/>
              <a:gd name="connsiteX114" fmla="*/ 1391269 w 5957423"/>
              <a:gd name="connsiteY114" fmla="*/ 1654085 h 6858000"/>
              <a:gd name="connsiteX115" fmla="*/ 1399156 w 5957423"/>
              <a:gd name="connsiteY115" fmla="*/ 1664336 h 6858000"/>
              <a:gd name="connsiteX116" fmla="*/ 1483547 w 5957423"/>
              <a:gd name="connsiteY116" fmla="*/ 1598885 h 6858000"/>
              <a:gd name="connsiteX117" fmla="*/ 1848716 w 5957423"/>
              <a:gd name="connsiteY117" fmla="*/ 1876459 h 6858000"/>
              <a:gd name="connsiteX118" fmla="*/ 1658639 w 5957423"/>
              <a:gd name="connsiteY118" fmla="*/ 2023920 h 6858000"/>
              <a:gd name="connsiteX119" fmla="*/ 1489068 w 5957423"/>
              <a:gd name="connsiteY119" fmla="*/ 2155610 h 6858000"/>
              <a:gd name="connsiteX120" fmla="*/ 1123900 w 5957423"/>
              <a:gd name="connsiteY120" fmla="*/ 1878036 h 6858000"/>
              <a:gd name="connsiteX121" fmla="*/ 1398368 w 5957423"/>
              <a:gd name="connsiteY121" fmla="*/ 1665124 h 6858000"/>
              <a:gd name="connsiteX122" fmla="*/ 1390481 w 5957423"/>
              <a:gd name="connsiteY122" fmla="*/ 1654085 h 6858000"/>
              <a:gd name="connsiteX123" fmla="*/ 1118379 w 5957423"/>
              <a:gd name="connsiteY123" fmla="*/ 1865419 h 6858000"/>
              <a:gd name="connsiteX124" fmla="*/ 1118379 w 5957423"/>
              <a:gd name="connsiteY124" fmla="*/ 1519240 h 6858000"/>
              <a:gd name="connsiteX125" fmla="*/ 1230374 w 5957423"/>
              <a:gd name="connsiteY125" fmla="*/ 1432499 h 6858000"/>
              <a:gd name="connsiteX126" fmla="*/ 1480393 w 5957423"/>
              <a:gd name="connsiteY126" fmla="*/ 1238512 h 6858000"/>
              <a:gd name="connsiteX127" fmla="*/ 1110492 w 5957423"/>
              <a:gd name="connsiteY127" fmla="*/ 947533 h 6858000"/>
              <a:gd name="connsiteX128" fmla="*/ 1475660 w 5957423"/>
              <a:gd name="connsiteY128" fmla="*/ 1225107 h 6858000"/>
              <a:gd name="connsiteX129" fmla="*/ 1223276 w 5957423"/>
              <a:gd name="connsiteY129" fmla="*/ 1421459 h 6858000"/>
              <a:gd name="connsiteX130" fmla="*/ 1230374 w 5957423"/>
              <a:gd name="connsiteY130" fmla="*/ 1432499 h 6858000"/>
              <a:gd name="connsiteX131" fmla="*/ 1222487 w 5957423"/>
              <a:gd name="connsiteY131" fmla="*/ 1422247 h 6858000"/>
              <a:gd name="connsiteX132" fmla="*/ 1112069 w 5957423"/>
              <a:gd name="connsiteY132" fmla="*/ 1508201 h 6858000"/>
              <a:gd name="connsiteX133" fmla="*/ 746900 w 5957423"/>
              <a:gd name="connsiteY133" fmla="*/ 1230627 h 6858000"/>
              <a:gd name="connsiteX134" fmla="*/ 1110492 w 5957423"/>
              <a:gd name="connsiteY134" fmla="*/ 947533 h 6858000"/>
              <a:gd name="connsiteX135" fmla="*/ 1488280 w 5957423"/>
              <a:gd name="connsiteY135" fmla="*/ 296181 h 6858000"/>
              <a:gd name="connsiteX136" fmla="*/ 1498533 w 5957423"/>
              <a:gd name="connsiteY136" fmla="*/ 304066 h 6858000"/>
              <a:gd name="connsiteX137" fmla="*/ 1853448 w 5957423"/>
              <a:gd name="connsiteY137" fmla="*/ 573754 h 6858000"/>
              <a:gd name="connsiteX138" fmla="*/ 1489068 w 5957423"/>
              <a:gd name="connsiteY138" fmla="*/ 856060 h 6858000"/>
              <a:gd name="connsiteX139" fmla="*/ 1123900 w 5957423"/>
              <a:gd name="connsiteY139" fmla="*/ 578486 h 6858000"/>
              <a:gd name="connsiteX140" fmla="*/ 1488280 w 5957423"/>
              <a:gd name="connsiteY140" fmla="*/ 296181 h 6858000"/>
              <a:gd name="connsiteX141" fmla="*/ 1493012 w 5957423"/>
              <a:gd name="connsiteY141" fmla="*/ 0 h 6858000"/>
              <a:gd name="connsiteX142" fmla="*/ 5957423 w 5957423"/>
              <a:gd name="connsiteY142" fmla="*/ 0 h 6858000"/>
              <a:gd name="connsiteX143" fmla="*/ 5957423 w 5957423"/>
              <a:gd name="connsiteY143" fmla="*/ 6858000 h 6858000"/>
              <a:gd name="connsiteX144" fmla="*/ 843615 w 5957423"/>
              <a:gd name="connsiteY144" fmla="*/ 6858000 h 6858000"/>
              <a:gd name="connsiteX145" fmla="*/ 810785 w 5957423"/>
              <a:gd name="connsiteY145" fmla="*/ 6833040 h 6858000"/>
              <a:gd name="connsiteX146" fmla="*/ 746900 w 5957423"/>
              <a:gd name="connsiteY146" fmla="*/ 6784470 h 6858000"/>
              <a:gd name="connsiteX147" fmla="*/ 746900 w 5957423"/>
              <a:gd name="connsiteY147" fmla="*/ 6429617 h 6858000"/>
              <a:gd name="connsiteX148" fmla="*/ 1019002 w 5957423"/>
              <a:gd name="connsiteY148" fmla="*/ 6218282 h 6858000"/>
              <a:gd name="connsiteX149" fmla="*/ 1012693 w 5957423"/>
              <a:gd name="connsiteY149" fmla="*/ 6206454 h 6858000"/>
              <a:gd name="connsiteX150" fmla="*/ 1019791 w 5957423"/>
              <a:gd name="connsiteY150" fmla="*/ 6217493 h 6858000"/>
              <a:gd name="connsiteX151" fmla="*/ 1110492 w 5957423"/>
              <a:gd name="connsiteY151" fmla="*/ 6147311 h 6858000"/>
              <a:gd name="connsiteX152" fmla="*/ 1489068 w 5957423"/>
              <a:gd name="connsiteY152" fmla="*/ 6435925 h 6858000"/>
              <a:gd name="connsiteX153" fmla="*/ 1870800 w 5957423"/>
              <a:gd name="connsiteY153" fmla="*/ 6140214 h 6858000"/>
              <a:gd name="connsiteX154" fmla="*/ 1870800 w 5957423"/>
              <a:gd name="connsiteY154" fmla="*/ 6021930 h 6858000"/>
              <a:gd name="connsiteX155" fmla="*/ 1857392 w 5957423"/>
              <a:gd name="connsiteY155" fmla="*/ 6027450 h 6858000"/>
              <a:gd name="connsiteX156" fmla="*/ 1857392 w 5957423"/>
              <a:gd name="connsiteY156" fmla="*/ 6133906 h 6858000"/>
              <a:gd name="connsiteX157" fmla="*/ 1495378 w 5957423"/>
              <a:gd name="connsiteY157" fmla="*/ 6413845 h 6858000"/>
              <a:gd name="connsiteX158" fmla="*/ 1495378 w 5957423"/>
              <a:gd name="connsiteY158" fmla="*/ 6067667 h 6858000"/>
              <a:gd name="connsiteX159" fmla="*/ 1857392 w 5957423"/>
              <a:gd name="connsiteY159" fmla="*/ 5786939 h 6858000"/>
              <a:gd name="connsiteX160" fmla="*/ 1857392 w 5957423"/>
              <a:gd name="connsiteY160" fmla="*/ 6026661 h 6858000"/>
              <a:gd name="connsiteX161" fmla="*/ 1870800 w 5957423"/>
              <a:gd name="connsiteY161" fmla="*/ 6021141 h 6858000"/>
              <a:gd name="connsiteX162" fmla="*/ 1870800 w 5957423"/>
              <a:gd name="connsiteY162" fmla="*/ 5770379 h 6858000"/>
              <a:gd name="connsiteX163" fmla="*/ 1739875 w 5957423"/>
              <a:gd name="connsiteY163" fmla="*/ 5671020 h 6858000"/>
              <a:gd name="connsiteX164" fmla="*/ 1497744 w 5957423"/>
              <a:gd name="connsiteY164" fmla="*/ 5487285 h 6858000"/>
              <a:gd name="connsiteX165" fmla="*/ 1497744 w 5957423"/>
              <a:gd name="connsiteY165" fmla="*/ 5307493 h 6858000"/>
              <a:gd name="connsiteX166" fmla="*/ 1484336 w 5957423"/>
              <a:gd name="connsiteY166" fmla="*/ 5309858 h 6858000"/>
              <a:gd name="connsiteX167" fmla="*/ 1484336 w 5957423"/>
              <a:gd name="connsiteY167" fmla="*/ 5480976 h 6858000"/>
              <a:gd name="connsiteX168" fmla="*/ 1122322 w 5957423"/>
              <a:gd name="connsiteY168" fmla="*/ 5761705 h 6858000"/>
              <a:gd name="connsiteX169" fmla="*/ 1122322 w 5957423"/>
              <a:gd name="connsiteY169" fmla="*/ 5415526 h 6858000"/>
              <a:gd name="connsiteX170" fmla="*/ 1292682 w 5957423"/>
              <a:gd name="connsiteY170" fmla="*/ 5283047 h 6858000"/>
              <a:gd name="connsiteX171" fmla="*/ 1285583 w 5957423"/>
              <a:gd name="connsiteY171" fmla="*/ 5272796 h 6858000"/>
              <a:gd name="connsiteX172" fmla="*/ 1116013 w 5957423"/>
              <a:gd name="connsiteY172" fmla="*/ 5403697 h 6858000"/>
              <a:gd name="connsiteX173" fmla="*/ 750844 w 5957423"/>
              <a:gd name="connsiteY173" fmla="*/ 5126124 h 6858000"/>
              <a:gd name="connsiteX174" fmla="*/ 1025312 w 5957423"/>
              <a:gd name="connsiteY174" fmla="*/ 4913212 h 6858000"/>
              <a:gd name="connsiteX175" fmla="*/ 1110492 w 5957423"/>
              <a:gd name="connsiteY175" fmla="*/ 4847761 h 6858000"/>
              <a:gd name="connsiteX176" fmla="*/ 1475660 w 5957423"/>
              <a:gd name="connsiteY176" fmla="*/ 5125335 h 6858000"/>
              <a:gd name="connsiteX177" fmla="*/ 1285583 w 5957423"/>
              <a:gd name="connsiteY177" fmla="*/ 5272008 h 6858000"/>
              <a:gd name="connsiteX178" fmla="*/ 1293470 w 5957423"/>
              <a:gd name="connsiteY178" fmla="*/ 5283047 h 6858000"/>
              <a:gd name="connsiteX179" fmla="*/ 1484336 w 5957423"/>
              <a:gd name="connsiteY179" fmla="*/ 5134798 h 6858000"/>
              <a:gd name="connsiteX180" fmla="*/ 1484336 w 5957423"/>
              <a:gd name="connsiteY180" fmla="*/ 5309070 h 6858000"/>
              <a:gd name="connsiteX181" fmla="*/ 1497744 w 5957423"/>
              <a:gd name="connsiteY181" fmla="*/ 5306704 h 6858000"/>
              <a:gd name="connsiteX182" fmla="*/ 1497744 w 5957423"/>
              <a:gd name="connsiteY182" fmla="*/ 5129278 h 6858000"/>
              <a:gd name="connsiteX183" fmla="*/ 1513518 w 5957423"/>
              <a:gd name="connsiteY183" fmla="*/ 5116661 h 6858000"/>
              <a:gd name="connsiteX184" fmla="*/ 1513518 w 5957423"/>
              <a:gd name="connsiteY184" fmla="*/ 5100101 h 6858000"/>
              <a:gd name="connsiteX185" fmla="*/ 1495378 w 5957423"/>
              <a:gd name="connsiteY185" fmla="*/ 5114295 h 6858000"/>
              <a:gd name="connsiteX186" fmla="*/ 1495378 w 5957423"/>
              <a:gd name="connsiteY186" fmla="*/ 4768116 h 6858000"/>
              <a:gd name="connsiteX187" fmla="*/ 1513518 w 5957423"/>
              <a:gd name="connsiteY187" fmla="*/ 4753922 h 6858000"/>
              <a:gd name="connsiteX188" fmla="*/ 1513518 w 5957423"/>
              <a:gd name="connsiteY188" fmla="*/ 4737362 h 6858000"/>
              <a:gd name="connsiteX189" fmla="*/ 1489068 w 5957423"/>
              <a:gd name="connsiteY189" fmla="*/ 4756288 h 6858000"/>
              <a:gd name="connsiteX190" fmla="*/ 1123900 w 5957423"/>
              <a:gd name="connsiteY190" fmla="*/ 4478714 h 6858000"/>
              <a:gd name="connsiteX191" fmla="*/ 1488280 w 5957423"/>
              <a:gd name="connsiteY191" fmla="*/ 4196409 h 6858000"/>
              <a:gd name="connsiteX192" fmla="*/ 1853448 w 5957423"/>
              <a:gd name="connsiteY192" fmla="*/ 4473983 h 6858000"/>
              <a:gd name="connsiteX193" fmla="*/ 1514307 w 5957423"/>
              <a:gd name="connsiteY193" fmla="*/ 4737362 h 6858000"/>
              <a:gd name="connsiteX194" fmla="*/ 1514307 w 5957423"/>
              <a:gd name="connsiteY194" fmla="*/ 4753134 h 6858000"/>
              <a:gd name="connsiteX195" fmla="*/ 1857392 w 5957423"/>
              <a:gd name="connsiteY195" fmla="*/ 4487388 h 6858000"/>
              <a:gd name="connsiteX196" fmla="*/ 1857392 w 5957423"/>
              <a:gd name="connsiteY196" fmla="*/ 4833567 h 6858000"/>
              <a:gd name="connsiteX197" fmla="*/ 1514307 w 5957423"/>
              <a:gd name="connsiteY197" fmla="*/ 5100101 h 6858000"/>
              <a:gd name="connsiteX198" fmla="*/ 1514307 w 5957423"/>
              <a:gd name="connsiteY198" fmla="*/ 5116661 h 6858000"/>
              <a:gd name="connsiteX199" fmla="*/ 1870800 w 5957423"/>
              <a:gd name="connsiteY199" fmla="*/ 4839875 h 6858000"/>
              <a:gd name="connsiteX200" fmla="*/ 1870800 w 5957423"/>
              <a:gd name="connsiteY200" fmla="*/ 4470828 h 6858000"/>
              <a:gd name="connsiteX201" fmla="*/ 1497744 w 5957423"/>
              <a:gd name="connsiteY201" fmla="*/ 4186946 h 6858000"/>
              <a:gd name="connsiteX202" fmla="*/ 1497744 w 5957423"/>
              <a:gd name="connsiteY202" fmla="*/ 3839190 h 6858000"/>
              <a:gd name="connsiteX203" fmla="*/ 1484336 w 5957423"/>
              <a:gd name="connsiteY203" fmla="*/ 3849441 h 6858000"/>
              <a:gd name="connsiteX204" fmla="*/ 1484336 w 5957423"/>
              <a:gd name="connsiteY204" fmla="*/ 4182215 h 6858000"/>
              <a:gd name="connsiteX205" fmla="*/ 1122322 w 5957423"/>
              <a:gd name="connsiteY205" fmla="*/ 4462154 h 6858000"/>
              <a:gd name="connsiteX206" fmla="*/ 1122322 w 5957423"/>
              <a:gd name="connsiteY206" fmla="*/ 4115975 h 6858000"/>
              <a:gd name="connsiteX207" fmla="*/ 1484336 w 5957423"/>
              <a:gd name="connsiteY207" fmla="*/ 3835248 h 6858000"/>
              <a:gd name="connsiteX208" fmla="*/ 1484336 w 5957423"/>
              <a:gd name="connsiteY208" fmla="*/ 3848653 h 6858000"/>
              <a:gd name="connsiteX209" fmla="*/ 1497744 w 5957423"/>
              <a:gd name="connsiteY209" fmla="*/ 3838402 h 6858000"/>
              <a:gd name="connsiteX210" fmla="*/ 1497744 w 5957423"/>
              <a:gd name="connsiteY210" fmla="*/ 3818688 h 6858000"/>
              <a:gd name="connsiteX211" fmla="*/ 1136519 w 5957423"/>
              <a:gd name="connsiteY211" fmla="*/ 3544268 h 6858000"/>
              <a:gd name="connsiteX212" fmla="*/ 1125477 w 5957423"/>
              <a:gd name="connsiteY212" fmla="*/ 3552154 h 6858000"/>
              <a:gd name="connsiteX213" fmla="*/ 1135730 w 5957423"/>
              <a:gd name="connsiteY213" fmla="*/ 3543479 h 6858000"/>
              <a:gd name="connsiteX214" fmla="*/ 1119956 w 5957423"/>
              <a:gd name="connsiteY214" fmla="*/ 3531651 h 6858000"/>
              <a:gd name="connsiteX215" fmla="*/ 1119956 w 5957423"/>
              <a:gd name="connsiteY215" fmla="*/ 3519822 h 6858000"/>
              <a:gd name="connsiteX216" fmla="*/ 1106548 w 5957423"/>
              <a:gd name="connsiteY216" fmla="*/ 3519822 h 6858000"/>
              <a:gd name="connsiteX217" fmla="*/ 1106548 w 5957423"/>
              <a:gd name="connsiteY217" fmla="*/ 3532439 h 6858000"/>
              <a:gd name="connsiteX218" fmla="*/ 744534 w 5957423"/>
              <a:gd name="connsiteY218" fmla="*/ 3812379 h 6858000"/>
              <a:gd name="connsiteX219" fmla="*/ 744534 w 5957423"/>
              <a:gd name="connsiteY219" fmla="*/ 3495377 h 6858000"/>
              <a:gd name="connsiteX220" fmla="*/ 744534 w 5957423"/>
              <a:gd name="connsiteY220" fmla="*/ 3466989 h 6858000"/>
              <a:gd name="connsiteX221" fmla="*/ 1106548 w 5957423"/>
              <a:gd name="connsiteY221" fmla="*/ 3186261 h 6858000"/>
              <a:gd name="connsiteX222" fmla="*/ 1106548 w 5957423"/>
              <a:gd name="connsiteY222" fmla="*/ 3500109 h 6858000"/>
              <a:gd name="connsiteX223" fmla="*/ 1106548 w 5957423"/>
              <a:gd name="connsiteY223" fmla="*/ 3519034 h 6858000"/>
              <a:gd name="connsiteX224" fmla="*/ 1119956 w 5957423"/>
              <a:gd name="connsiteY224" fmla="*/ 3519034 h 6858000"/>
              <a:gd name="connsiteX225" fmla="*/ 1119956 w 5957423"/>
              <a:gd name="connsiteY225" fmla="*/ 3180741 h 6858000"/>
              <a:gd name="connsiteX226" fmla="*/ 1392847 w 5957423"/>
              <a:gd name="connsiteY226" fmla="*/ 2969406 h 6858000"/>
              <a:gd name="connsiteX227" fmla="*/ 1483547 w 5957423"/>
              <a:gd name="connsiteY227" fmla="*/ 2899224 h 6858000"/>
              <a:gd name="connsiteX228" fmla="*/ 1862913 w 5957423"/>
              <a:gd name="connsiteY228" fmla="*/ 3187049 h 6858000"/>
              <a:gd name="connsiteX229" fmla="*/ 2243855 w 5957423"/>
              <a:gd name="connsiteY229" fmla="*/ 2891339 h 6858000"/>
              <a:gd name="connsiteX230" fmla="*/ 2243855 w 5957423"/>
              <a:gd name="connsiteY230" fmla="*/ 2773843 h 6858000"/>
              <a:gd name="connsiteX231" fmla="*/ 2231236 w 5957423"/>
              <a:gd name="connsiteY231" fmla="*/ 2779363 h 6858000"/>
              <a:gd name="connsiteX232" fmla="*/ 2231236 w 5957423"/>
              <a:gd name="connsiteY232" fmla="*/ 2885030 h 6858000"/>
              <a:gd name="connsiteX233" fmla="*/ 1869222 w 5957423"/>
              <a:gd name="connsiteY233" fmla="*/ 3165758 h 6858000"/>
              <a:gd name="connsiteX234" fmla="*/ 1869222 w 5957423"/>
              <a:gd name="connsiteY234" fmla="*/ 2819579 h 6858000"/>
              <a:gd name="connsiteX235" fmla="*/ 2231236 w 5957423"/>
              <a:gd name="connsiteY235" fmla="*/ 2538851 h 6858000"/>
              <a:gd name="connsiteX236" fmla="*/ 2231236 w 5957423"/>
              <a:gd name="connsiteY236" fmla="*/ 2778574 h 6858000"/>
              <a:gd name="connsiteX237" fmla="*/ 2243855 w 5957423"/>
              <a:gd name="connsiteY237" fmla="*/ 2773054 h 6858000"/>
              <a:gd name="connsiteX238" fmla="*/ 2243855 w 5957423"/>
              <a:gd name="connsiteY238" fmla="*/ 2522291 h 6858000"/>
              <a:gd name="connsiteX239" fmla="*/ 2113720 w 5957423"/>
              <a:gd name="connsiteY239" fmla="*/ 2422933 h 6858000"/>
              <a:gd name="connsiteX240" fmla="*/ 2100312 w 5957423"/>
              <a:gd name="connsiteY240" fmla="*/ 2429241 h 6858000"/>
              <a:gd name="connsiteX241" fmla="*/ 2226503 w 5957423"/>
              <a:gd name="connsiteY241" fmla="*/ 2525446 h 6858000"/>
              <a:gd name="connsiteX242" fmla="*/ 1862124 w 5957423"/>
              <a:gd name="connsiteY242" fmla="*/ 2807751 h 6858000"/>
              <a:gd name="connsiteX243" fmla="*/ 1496955 w 5957423"/>
              <a:gd name="connsiteY243" fmla="*/ 2530177 h 6858000"/>
              <a:gd name="connsiteX244" fmla="*/ 1861335 w 5957423"/>
              <a:gd name="connsiteY244" fmla="*/ 2247872 h 6858000"/>
              <a:gd name="connsiteX245" fmla="*/ 2099523 w 5957423"/>
              <a:gd name="connsiteY245" fmla="*/ 2428452 h 6858000"/>
              <a:gd name="connsiteX246" fmla="*/ 2112931 w 5957423"/>
              <a:gd name="connsiteY246" fmla="*/ 2422144 h 6858000"/>
              <a:gd name="connsiteX247" fmla="*/ 1870800 w 5957423"/>
              <a:gd name="connsiteY247" fmla="*/ 2238409 h 6858000"/>
              <a:gd name="connsiteX248" fmla="*/ 1870800 w 5957423"/>
              <a:gd name="connsiteY248" fmla="*/ 2059405 h 6858000"/>
              <a:gd name="connsiteX249" fmla="*/ 1857392 w 5957423"/>
              <a:gd name="connsiteY249" fmla="*/ 2060983 h 6858000"/>
              <a:gd name="connsiteX250" fmla="*/ 1857392 w 5957423"/>
              <a:gd name="connsiteY250" fmla="*/ 2232889 h 6858000"/>
              <a:gd name="connsiteX251" fmla="*/ 1496167 w 5957423"/>
              <a:gd name="connsiteY251" fmla="*/ 2513617 h 6858000"/>
              <a:gd name="connsiteX252" fmla="*/ 1496167 w 5957423"/>
              <a:gd name="connsiteY252" fmla="*/ 2166650 h 6858000"/>
              <a:gd name="connsiteX253" fmla="*/ 1666526 w 5957423"/>
              <a:gd name="connsiteY253" fmla="*/ 2034960 h 6858000"/>
              <a:gd name="connsiteX254" fmla="*/ 1658639 w 5957423"/>
              <a:gd name="connsiteY254" fmla="*/ 2023920 h 6858000"/>
              <a:gd name="connsiteX255" fmla="*/ 1666526 w 5957423"/>
              <a:gd name="connsiteY255" fmla="*/ 2034172 h 6858000"/>
              <a:gd name="connsiteX256" fmla="*/ 1857392 w 5957423"/>
              <a:gd name="connsiteY256" fmla="*/ 1885922 h 6858000"/>
              <a:gd name="connsiteX257" fmla="*/ 1857392 w 5957423"/>
              <a:gd name="connsiteY257" fmla="*/ 2060194 h 6858000"/>
              <a:gd name="connsiteX258" fmla="*/ 1870800 w 5957423"/>
              <a:gd name="connsiteY258" fmla="*/ 2058617 h 6858000"/>
              <a:gd name="connsiteX259" fmla="*/ 1870800 w 5957423"/>
              <a:gd name="connsiteY259" fmla="*/ 1881190 h 6858000"/>
              <a:gd name="connsiteX260" fmla="*/ 1886574 w 5957423"/>
              <a:gd name="connsiteY260" fmla="*/ 1868573 h 6858000"/>
              <a:gd name="connsiteX261" fmla="*/ 1886574 w 5957423"/>
              <a:gd name="connsiteY261" fmla="*/ 1852014 h 6858000"/>
              <a:gd name="connsiteX262" fmla="*/ 1869222 w 5957423"/>
              <a:gd name="connsiteY262" fmla="*/ 1865419 h 6858000"/>
              <a:gd name="connsiteX263" fmla="*/ 1869222 w 5957423"/>
              <a:gd name="connsiteY263" fmla="*/ 1519240 h 6858000"/>
              <a:gd name="connsiteX264" fmla="*/ 1886574 w 5957423"/>
              <a:gd name="connsiteY264" fmla="*/ 1505835 h 6858000"/>
              <a:gd name="connsiteX265" fmla="*/ 1886574 w 5957423"/>
              <a:gd name="connsiteY265" fmla="*/ 1489275 h 6858000"/>
              <a:gd name="connsiteX266" fmla="*/ 1862124 w 5957423"/>
              <a:gd name="connsiteY266" fmla="*/ 1508201 h 6858000"/>
              <a:gd name="connsiteX267" fmla="*/ 1496955 w 5957423"/>
              <a:gd name="connsiteY267" fmla="*/ 1230627 h 6858000"/>
              <a:gd name="connsiteX268" fmla="*/ 1861335 w 5957423"/>
              <a:gd name="connsiteY268" fmla="*/ 947533 h 6858000"/>
              <a:gd name="connsiteX269" fmla="*/ 2226503 w 5957423"/>
              <a:gd name="connsiteY269" fmla="*/ 1225107 h 6858000"/>
              <a:gd name="connsiteX270" fmla="*/ 1887362 w 5957423"/>
              <a:gd name="connsiteY270" fmla="*/ 1488487 h 6858000"/>
              <a:gd name="connsiteX271" fmla="*/ 1887362 w 5957423"/>
              <a:gd name="connsiteY271" fmla="*/ 1505046 h 6858000"/>
              <a:gd name="connsiteX272" fmla="*/ 2231236 w 5957423"/>
              <a:gd name="connsiteY272" fmla="*/ 1238512 h 6858000"/>
              <a:gd name="connsiteX273" fmla="*/ 2231236 w 5957423"/>
              <a:gd name="connsiteY273" fmla="*/ 1585480 h 6858000"/>
              <a:gd name="connsiteX274" fmla="*/ 1887362 w 5957423"/>
              <a:gd name="connsiteY274" fmla="*/ 1851225 h 6858000"/>
              <a:gd name="connsiteX275" fmla="*/ 1887362 w 5957423"/>
              <a:gd name="connsiteY275" fmla="*/ 1867785 h 6858000"/>
              <a:gd name="connsiteX276" fmla="*/ 2243855 w 5957423"/>
              <a:gd name="connsiteY276" fmla="*/ 1591788 h 6858000"/>
              <a:gd name="connsiteX277" fmla="*/ 2243855 w 5957423"/>
              <a:gd name="connsiteY277" fmla="*/ 1221952 h 6858000"/>
              <a:gd name="connsiteX278" fmla="*/ 1870800 w 5957423"/>
              <a:gd name="connsiteY278" fmla="*/ 938859 h 6858000"/>
              <a:gd name="connsiteX279" fmla="*/ 1870800 w 5957423"/>
              <a:gd name="connsiteY279" fmla="*/ 590314 h 6858000"/>
              <a:gd name="connsiteX280" fmla="*/ 1857392 w 5957423"/>
              <a:gd name="connsiteY280" fmla="*/ 600566 h 6858000"/>
              <a:gd name="connsiteX281" fmla="*/ 1857392 w 5957423"/>
              <a:gd name="connsiteY281" fmla="*/ 933339 h 6858000"/>
              <a:gd name="connsiteX282" fmla="*/ 1496167 w 5957423"/>
              <a:gd name="connsiteY282" fmla="*/ 1214067 h 6858000"/>
              <a:gd name="connsiteX283" fmla="*/ 1496167 w 5957423"/>
              <a:gd name="connsiteY283" fmla="*/ 867888 h 6858000"/>
              <a:gd name="connsiteX284" fmla="*/ 1857392 w 5957423"/>
              <a:gd name="connsiteY284" fmla="*/ 587160 h 6858000"/>
              <a:gd name="connsiteX285" fmla="*/ 1857392 w 5957423"/>
              <a:gd name="connsiteY285" fmla="*/ 599777 h 6858000"/>
              <a:gd name="connsiteX286" fmla="*/ 1870800 w 5957423"/>
              <a:gd name="connsiteY286" fmla="*/ 589526 h 6858000"/>
              <a:gd name="connsiteX287" fmla="*/ 1870800 w 5957423"/>
              <a:gd name="connsiteY287" fmla="*/ 570600 h 6858000"/>
              <a:gd name="connsiteX288" fmla="*/ 1509574 w 5957423"/>
              <a:gd name="connsiteY288" fmla="*/ 295392 h 6858000"/>
              <a:gd name="connsiteX289" fmla="*/ 1498533 w 5957423"/>
              <a:gd name="connsiteY289" fmla="*/ 304066 h 6858000"/>
              <a:gd name="connsiteX290" fmla="*/ 1508786 w 5957423"/>
              <a:gd name="connsiteY290" fmla="*/ 295392 h 6858000"/>
              <a:gd name="connsiteX291" fmla="*/ 1493012 w 5957423"/>
              <a:gd name="connsiteY291" fmla="*/ 283564 h 6858000"/>
              <a:gd name="connsiteX292" fmla="*/ 1493012 w 5957423"/>
              <a:gd name="connsiteY292" fmla="*/ 1953 h 6858000"/>
              <a:gd name="connsiteX293" fmla="*/ 1398859 w 5957423"/>
              <a:gd name="connsiteY293" fmla="*/ 0 h 6858000"/>
              <a:gd name="connsiteX294" fmla="*/ 1480393 w 5957423"/>
              <a:gd name="connsiteY294" fmla="*/ 0 h 6858000"/>
              <a:gd name="connsiteX295" fmla="*/ 1480393 w 5957423"/>
              <a:gd name="connsiteY295" fmla="*/ 84404 h 6858000"/>
              <a:gd name="connsiteX296" fmla="*/ 1480393 w 5957423"/>
              <a:gd name="connsiteY296" fmla="*/ 283564 h 6858000"/>
              <a:gd name="connsiteX297" fmla="*/ 1118379 w 5957423"/>
              <a:gd name="connsiteY297" fmla="*/ 564292 h 6858000"/>
              <a:gd name="connsiteX298" fmla="*/ 1118379 w 5957423"/>
              <a:gd name="connsiteY298" fmla="*/ 218113 h 6858000"/>
              <a:gd name="connsiteX299" fmla="*/ 1379242 w 5957423"/>
              <a:gd name="connsiteY299" fmla="*/ 15255 h 6858000"/>
              <a:gd name="connsiteX300" fmla="*/ 840168 w 5957423"/>
              <a:gd name="connsiteY300" fmla="*/ 0 h 6858000"/>
              <a:gd name="connsiteX301" fmla="*/ 1377550 w 5957423"/>
              <a:gd name="connsiteY301" fmla="*/ 0 h 6858000"/>
              <a:gd name="connsiteX302" fmla="*/ 1301753 w 5957423"/>
              <a:gd name="connsiteY302" fmla="*/ 58896 h 6858000"/>
              <a:gd name="connsiteX303" fmla="*/ 1112069 w 5957423"/>
              <a:gd name="connsiteY303" fmla="*/ 206284 h 6858000"/>
              <a:gd name="connsiteX304" fmla="*/ 857417 w 5957423"/>
              <a:gd name="connsiteY304" fmla="*/ 1308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Lst>
            <a:rect l="l" t="t" r="r" b="b"/>
            <a:pathLst>
              <a:path w="5957423" h="6858000">
                <a:moveTo>
                  <a:pt x="738225" y="6793932"/>
                </a:moveTo>
                <a:cubicBezTo>
                  <a:pt x="771350" y="6819166"/>
                  <a:pt x="796195" y="6838092"/>
                  <a:pt x="814828" y="6852286"/>
                </a:cubicBezTo>
                <a:lnTo>
                  <a:pt x="822329" y="6858000"/>
                </a:lnTo>
                <a:lnTo>
                  <a:pt x="655724" y="6858000"/>
                </a:lnTo>
                <a:lnTo>
                  <a:pt x="656989" y="6857017"/>
                </a:lnTo>
                <a:cubicBezTo>
                  <a:pt x="738225" y="6793932"/>
                  <a:pt x="738225" y="6793932"/>
                  <a:pt x="738225" y="6793932"/>
                </a:cubicBezTo>
                <a:close/>
                <a:moveTo>
                  <a:pt x="733493" y="6434348"/>
                </a:moveTo>
                <a:cubicBezTo>
                  <a:pt x="733493" y="6780527"/>
                  <a:pt x="733493" y="6780527"/>
                  <a:pt x="733493" y="6780527"/>
                </a:cubicBezTo>
                <a:cubicBezTo>
                  <a:pt x="639637" y="6853075"/>
                  <a:pt x="639637" y="6853075"/>
                  <a:pt x="639637" y="6853075"/>
                </a:cubicBezTo>
                <a:cubicBezTo>
                  <a:pt x="645158" y="6854652"/>
                  <a:pt x="650679" y="6855440"/>
                  <a:pt x="656989" y="6857017"/>
                </a:cubicBezTo>
                <a:cubicBezTo>
                  <a:pt x="650679" y="6856229"/>
                  <a:pt x="644369" y="6854652"/>
                  <a:pt x="638848" y="6853863"/>
                </a:cubicBezTo>
                <a:lnTo>
                  <a:pt x="633515" y="6858000"/>
                </a:lnTo>
                <a:lnTo>
                  <a:pt x="371479" y="6858000"/>
                </a:lnTo>
                <a:lnTo>
                  <a:pt x="371479" y="6799592"/>
                </a:lnTo>
                <a:cubicBezTo>
                  <a:pt x="371479" y="6715076"/>
                  <a:pt x="371479" y="6715076"/>
                  <a:pt x="371479" y="6715076"/>
                </a:cubicBezTo>
                <a:cubicBezTo>
                  <a:pt x="733493" y="6434348"/>
                  <a:pt x="733493" y="6434348"/>
                  <a:pt x="733493" y="6434348"/>
                </a:cubicBezTo>
                <a:close/>
                <a:moveTo>
                  <a:pt x="1106548" y="5786939"/>
                </a:moveTo>
                <a:cubicBezTo>
                  <a:pt x="1106548" y="6133906"/>
                  <a:pt x="1106548" y="6133906"/>
                  <a:pt x="1106548" y="6133906"/>
                </a:cubicBezTo>
                <a:cubicBezTo>
                  <a:pt x="1012693" y="6206454"/>
                  <a:pt x="1012693" y="6206454"/>
                  <a:pt x="1012693" y="6206454"/>
                </a:cubicBezTo>
                <a:cubicBezTo>
                  <a:pt x="744534" y="6413845"/>
                  <a:pt x="744534" y="6413845"/>
                  <a:pt x="744534" y="6413845"/>
                </a:cubicBezTo>
                <a:cubicBezTo>
                  <a:pt x="744534" y="6067667"/>
                  <a:pt x="744534" y="6067667"/>
                  <a:pt x="744534" y="6067667"/>
                </a:cubicBezTo>
                <a:cubicBezTo>
                  <a:pt x="873093" y="5968308"/>
                  <a:pt x="873093" y="5968308"/>
                  <a:pt x="873093" y="5968308"/>
                </a:cubicBezTo>
                <a:cubicBezTo>
                  <a:pt x="1106548" y="5786939"/>
                  <a:pt x="1106548" y="5786939"/>
                  <a:pt x="1106548" y="5786939"/>
                </a:cubicBezTo>
                <a:close/>
                <a:moveTo>
                  <a:pt x="1739875" y="5671020"/>
                </a:moveTo>
                <a:cubicBezTo>
                  <a:pt x="1726467" y="5677328"/>
                  <a:pt x="1726467" y="5677328"/>
                  <a:pt x="1726467" y="5677328"/>
                </a:cubicBezTo>
                <a:cubicBezTo>
                  <a:pt x="1739875" y="5671020"/>
                  <a:pt x="1739875" y="5671020"/>
                  <a:pt x="1739875" y="5671020"/>
                </a:cubicBezTo>
                <a:close/>
                <a:moveTo>
                  <a:pt x="1488280" y="5495959"/>
                </a:moveTo>
                <a:cubicBezTo>
                  <a:pt x="1726467" y="5677328"/>
                  <a:pt x="1726467" y="5677328"/>
                  <a:pt x="1726467" y="5677328"/>
                </a:cubicBezTo>
                <a:cubicBezTo>
                  <a:pt x="1853448" y="5773533"/>
                  <a:pt x="1853448" y="5773533"/>
                  <a:pt x="1853448" y="5773533"/>
                </a:cubicBezTo>
                <a:cubicBezTo>
                  <a:pt x="1489068" y="6056627"/>
                  <a:pt x="1489068" y="6056627"/>
                  <a:pt x="1489068" y="6056627"/>
                </a:cubicBezTo>
                <a:cubicBezTo>
                  <a:pt x="1123900" y="5779053"/>
                  <a:pt x="1123900" y="5779053"/>
                  <a:pt x="1123900" y="5779053"/>
                </a:cubicBezTo>
                <a:cubicBezTo>
                  <a:pt x="1488280" y="5495959"/>
                  <a:pt x="1488280" y="5495959"/>
                  <a:pt x="1488280" y="5495959"/>
                </a:cubicBezTo>
                <a:close/>
                <a:moveTo>
                  <a:pt x="359648" y="4847761"/>
                </a:moveTo>
                <a:cubicBezTo>
                  <a:pt x="724817" y="5125335"/>
                  <a:pt x="724817" y="5125335"/>
                  <a:pt x="724817" y="5125335"/>
                </a:cubicBezTo>
                <a:cubicBezTo>
                  <a:pt x="487418" y="5309070"/>
                  <a:pt x="487418" y="5309070"/>
                  <a:pt x="487418" y="5309070"/>
                </a:cubicBezTo>
                <a:cubicBezTo>
                  <a:pt x="493727" y="5320110"/>
                  <a:pt x="493727" y="5320110"/>
                  <a:pt x="493727" y="5320110"/>
                </a:cubicBezTo>
                <a:cubicBezTo>
                  <a:pt x="733493" y="5134798"/>
                  <a:pt x="733493" y="5134798"/>
                  <a:pt x="733493" y="5134798"/>
                </a:cubicBezTo>
                <a:cubicBezTo>
                  <a:pt x="733493" y="5480976"/>
                  <a:pt x="733493" y="5480976"/>
                  <a:pt x="733493" y="5480976"/>
                </a:cubicBezTo>
                <a:cubicBezTo>
                  <a:pt x="633328" y="5558256"/>
                  <a:pt x="633328" y="5558256"/>
                  <a:pt x="633328" y="5558256"/>
                </a:cubicBezTo>
                <a:cubicBezTo>
                  <a:pt x="641215" y="5570873"/>
                  <a:pt x="641215" y="5570873"/>
                  <a:pt x="641215" y="5570873"/>
                </a:cubicBezTo>
                <a:cubicBezTo>
                  <a:pt x="737436" y="5495959"/>
                  <a:pt x="737436" y="5495959"/>
                  <a:pt x="737436" y="5495959"/>
                </a:cubicBezTo>
                <a:cubicBezTo>
                  <a:pt x="1102605" y="5773533"/>
                  <a:pt x="1102605" y="5773533"/>
                  <a:pt x="1102605" y="5773533"/>
                </a:cubicBezTo>
                <a:cubicBezTo>
                  <a:pt x="866783" y="5956479"/>
                  <a:pt x="866783" y="5956479"/>
                  <a:pt x="866783" y="5956479"/>
                </a:cubicBezTo>
                <a:cubicBezTo>
                  <a:pt x="873093" y="5968308"/>
                  <a:pt x="873093" y="5968308"/>
                  <a:pt x="873093" y="5968308"/>
                </a:cubicBezTo>
                <a:cubicBezTo>
                  <a:pt x="865994" y="5957268"/>
                  <a:pt x="865994" y="5957268"/>
                  <a:pt x="865994" y="5957268"/>
                </a:cubicBezTo>
                <a:cubicBezTo>
                  <a:pt x="738225" y="6056627"/>
                  <a:pt x="738225" y="6056627"/>
                  <a:pt x="738225" y="6056627"/>
                </a:cubicBezTo>
                <a:cubicBezTo>
                  <a:pt x="373056" y="5779053"/>
                  <a:pt x="373056" y="5779053"/>
                  <a:pt x="373056" y="5779053"/>
                </a:cubicBezTo>
                <a:cubicBezTo>
                  <a:pt x="640426" y="5571661"/>
                  <a:pt x="640426" y="5571661"/>
                  <a:pt x="640426" y="5571661"/>
                </a:cubicBezTo>
                <a:cubicBezTo>
                  <a:pt x="633328" y="5559044"/>
                  <a:pt x="633328" y="5559044"/>
                  <a:pt x="633328" y="5559044"/>
                </a:cubicBezTo>
                <a:cubicBezTo>
                  <a:pt x="371479" y="5761705"/>
                  <a:pt x="371479" y="5761705"/>
                  <a:pt x="371479" y="5761705"/>
                </a:cubicBezTo>
                <a:cubicBezTo>
                  <a:pt x="371479" y="5415526"/>
                  <a:pt x="371479" y="5415526"/>
                  <a:pt x="371479" y="5415526"/>
                </a:cubicBezTo>
                <a:cubicBezTo>
                  <a:pt x="493727" y="5320898"/>
                  <a:pt x="493727" y="5320898"/>
                  <a:pt x="493727" y="5320898"/>
                </a:cubicBezTo>
                <a:cubicBezTo>
                  <a:pt x="486629" y="5309070"/>
                  <a:pt x="486629" y="5309070"/>
                  <a:pt x="486629" y="5309070"/>
                </a:cubicBezTo>
                <a:cubicBezTo>
                  <a:pt x="365169" y="5403697"/>
                  <a:pt x="365169" y="5403697"/>
                  <a:pt x="365169" y="5403697"/>
                </a:cubicBezTo>
                <a:cubicBezTo>
                  <a:pt x="0" y="5126124"/>
                  <a:pt x="0" y="5126124"/>
                  <a:pt x="0" y="5126124"/>
                </a:cubicBezTo>
                <a:cubicBezTo>
                  <a:pt x="359648" y="4847761"/>
                  <a:pt x="359648" y="4847761"/>
                  <a:pt x="359648" y="4847761"/>
                </a:cubicBezTo>
                <a:close/>
                <a:moveTo>
                  <a:pt x="1106548" y="4487388"/>
                </a:moveTo>
                <a:cubicBezTo>
                  <a:pt x="1106548" y="4833567"/>
                  <a:pt x="1106548" y="4833567"/>
                  <a:pt x="1106548" y="4833567"/>
                </a:cubicBezTo>
                <a:cubicBezTo>
                  <a:pt x="1018214" y="4902172"/>
                  <a:pt x="1018214" y="4902172"/>
                  <a:pt x="1018214" y="4902172"/>
                </a:cubicBezTo>
                <a:cubicBezTo>
                  <a:pt x="1025312" y="4913212"/>
                  <a:pt x="1025312" y="4913212"/>
                  <a:pt x="1025312" y="4913212"/>
                </a:cubicBezTo>
                <a:cubicBezTo>
                  <a:pt x="1017425" y="4902960"/>
                  <a:pt x="1017425" y="4902960"/>
                  <a:pt x="1017425" y="4902960"/>
                </a:cubicBezTo>
                <a:cubicBezTo>
                  <a:pt x="744534" y="5114295"/>
                  <a:pt x="744534" y="5114295"/>
                  <a:pt x="744534" y="5114295"/>
                </a:cubicBezTo>
                <a:cubicBezTo>
                  <a:pt x="744534" y="4768116"/>
                  <a:pt x="744534" y="4768116"/>
                  <a:pt x="744534" y="4768116"/>
                </a:cubicBezTo>
                <a:cubicBezTo>
                  <a:pt x="856530" y="4680586"/>
                  <a:pt x="856530" y="4680586"/>
                  <a:pt x="856530" y="4680586"/>
                </a:cubicBezTo>
                <a:cubicBezTo>
                  <a:pt x="849432" y="4670335"/>
                  <a:pt x="849432" y="4670335"/>
                  <a:pt x="849432" y="4670335"/>
                </a:cubicBezTo>
                <a:cubicBezTo>
                  <a:pt x="857319" y="4680586"/>
                  <a:pt x="857319" y="4680586"/>
                  <a:pt x="857319" y="4680586"/>
                </a:cubicBezTo>
                <a:cubicBezTo>
                  <a:pt x="1106548" y="4487388"/>
                  <a:pt x="1106548" y="4487388"/>
                  <a:pt x="1106548" y="4487388"/>
                </a:cubicBezTo>
                <a:close/>
                <a:moveTo>
                  <a:pt x="737436" y="4196409"/>
                </a:moveTo>
                <a:cubicBezTo>
                  <a:pt x="1102605" y="4473983"/>
                  <a:pt x="1102605" y="4473983"/>
                  <a:pt x="1102605" y="4473983"/>
                </a:cubicBezTo>
                <a:cubicBezTo>
                  <a:pt x="849432" y="4670335"/>
                  <a:pt x="849432" y="4670335"/>
                  <a:pt x="849432" y="4670335"/>
                </a:cubicBezTo>
                <a:cubicBezTo>
                  <a:pt x="738225" y="4756288"/>
                  <a:pt x="738225" y="4756288"/>
                  <a:pt x="738225" y="4756288"/>
                </a:cubicBezTo>
                <a:cubicBezTo>
                  <a:pt x="373056" y="4478714"/>
                  <a:pt x="373056" y="4478714"/>
                  <a:pt x="373056" y="4478714"/>
                </a:cubicBezTo>
                <a:cubicBezTo>
                  <a:pt x="737436" y="4196409"/>
                  <a:pt x="737436" y="4196409"/>
                  <a:pt x="737436" y="4196409"/>
                </a:cubicBezTo>
                <a:close/>
                <a:moveTo>
                  <a:pt x="1115224" y="3544268"/>
                </a:moveTo>
                <a:cubicBezTo>
                  <a:pt x="1125477" y="3552154"/>
                  <a:pt x="1125477" y="3552154"/>
                  <a:pt x="1125477" y="3552154"/>
                </a:cubicBezTo>
                <a:cubicBezTo>
                  <a:pt x="1480393" y="3821842"/>
                  <a:pt x="1480393" y="3821842"/>
                  <a:pt x="1480393" y="3821842"/>
                </a:cubicBezTo>
                <a:cubicBezTo>
                  <a:pt x="1116013" y="4104935"/>
                  <a:pt x="1116013" y="4104935"/>
                  <a:pt x="1116013" y="4104935"/>
                </a:cubicBezTo>
                <a:cubicBezTo>
                  <a:pt x="750844" y="3826573"/>
                  <a:pt x="750844" y="3826573"/>
                  <a:pt x="750844" y="3826573"/>
                </a:cubicBezTo>
                <a:cubicBezTo>
                  <a:pt x="1115224" y="3544268"/>
                  <a:pt x="1115224" y="3544268"/>
                  <a:pt x="1115224" y="3544268"/>
                </a:cubicBezTo>
                <a:close/>
                <a:moveTo>
                  <a:pt x="1480393" y="2538851"/>
                </a:moveTo>
                <a:cubicBezTo>
                  <a:pt x="1480393" y="2885030"/>
                  <a:pt x="1480393" y="2885030"/>
                  <a:pt x="1480393" y="2885030"/>
                </a:cubicBezTo>
                <a:cubicBezTo>
                  <a:pt x="1386537" y="2957578"/>
                  <a:pt x="1386537" y="2957578"/>
                  <a:pt x="1386537" y="2957578"/>
                </a:cubicBezTo>
                <a:cubicBezTo>
                  <a:pt x="1392847" y="2969406"/>
                  <a:pt x="1392847" y="2969406"/>
                  <a:pt x="1392847" y="2969406"/>
                </a:cubicBezTo>
                <a:cubicBezTo>
                  <a:pt x="1385748" y="2958366"/>
                  <a:pt x="1385748" y="2958366"/>
                  <a:pt x="1385748" y="2958366"/>
                </a:cubicBezTo>
                <a:cubicBezTo>
                  <a:pt x="1118379" y="3165758"/>
                  <a:pt x="1118379" y="3165758"/>
                  <a:pt x="1118379" y="3165758"/>
                </a:cubicBezTo>
                <a:cubicBezTo>
                  <a:pt x="1118379" y="2819579"/>
                  <a:pt x="1118379" y="2819579"/>
                  <a:pt x="1118379" y="2819579"/>
                </a:cubicBezTo>
                <a:cubicBezTo>
                  <a:pt x="1246148" y="2720221"/>
                  <a:pt x="1246148" y="2720221"/>
                  <a:pt x="1246148" y="2720221"/>
                </a:cubicBezTo>
                <a:cubicBezTo>
                  <a:pt x="1239839" y="2708392"/>
                  <a:pt x="1239839" y="2708392"/>
                  <a:pt x="1239839" y="2708392"/>
                </a:cubicBezTo>
                <a:cubicBezTo>
                  <a:pt x="1246937" y="2719432"/>
                  <a:pt x="1246937" y="2719432"/>
                  <a:pt x="1246937" y="2719432"/>
                </a:cubicBezTo>
                <a:cubicBezTo>
                  <a:pt x="1480393" y="2538851"/>
                  <a:pt x="1480393" y="2538851"/>
                  <a:pt x="1480393" y="2538851"/>
                </a:cubicBezTo>
                <a:close/>
                <a:moveTo>
                  <a:pt x="732704" y="1598885"/>
                </a:moveTo>
                <a:cubicBezTo>
                  <a:pt x="1097873" y="1876459"/>
                  <a:pt x="1097873" y="1876459"/>
                  <a:pt x="1097873" y="1876459"/>
                </a:cubicBezTo>
                <a:cubicBezTo>
                  <a:pt x="860473" y="2060194"/>
                  <a:pt x="860473" y="2060194"/>
                  <a:pt x="860473" y="2060194"/>
                </a:cubicBezTo>
                <a:cubicBezTo>
                  <a:pt x="867572" y="2072022"/>
                  <a:pt x="867572" y="2072022"/>
                  <a:pt x="867572" y="2072022"/>
                </a:cubicBezTo>
                <a:cubicBezTo>
                  <a:pt x="1106548" y="1885922"/>
                  <a:pt x="1106548" y="1885922"/>
                  <a:pt x="1106548" y="1885922"/>
                </a:cubicBezTo>
                <a:cubicBezTo>
                  <a:pt x="1106548" y="2232889"/>
                  <a:pt x="1106548" y="2232889"/>
                  <a:pt x="1106548" y="2232889"/>
                </a:cubicBezTo>
                <a:cubicBezTo>
                  <a:pt x="1007172" y="2310168"/>
                  <a:pt x="1007172" y="2310168"/>
                  <a:pt x="1007172" y="2310168"/>
                </a:cubicBezTo>
                <a:cubicBezTo>
                  <a:pt x="1014270" y="2322785"/>
                  <a:pt x="1014270" y="2322785"/>
                  <a:pt x="1014270" y="2322785"/>
                </a:cubicBezTo>
                <a:cubicBezTo>
                  <a:pt x="1110492" y="2247872"/>
                  <a:pt x="1110492" y="2247872"/>
                  <a:pt x="1110492" y="2247872"/>
                </a:cubicBezTo>
                <a:cubicBezTo>
                  <a:pt x="1475660" y="2525446"/>
                  <a:pt x="1475660" y="2525446"/>
                  <a:pt x="1475660" y="2525446"/>
                </a:cubicBezTo>
                <a:cubicBezTo>
                  <a:pt x="1239839" y="2708392"/>
                  <a:pt x="1239839" y="2708392"/>
                  <a:pt x="1239839" y="2708392"/>
                </a:cubicBezTo>
                <a:cubicBezTo>
                  <a:pt x="1112069" y="2807751"/>
                  <a:pt x="1112069" y="2807751"/>
                  <a:pt x="1112069" y="2807751"/>
                </a:cubicBezTo>
                <a:cubicBezTo>
                  <a:pt x="746900" y="2530177"/>
                  <a:pt x="746900" y="2530177"/>
                  <a:pt x="746900" y="2530177"/>
                </a:cubicBezTo>
                <a:cubicBezTo>
                  <a:pt x="1013481" y="2322785"/>
                  <a:pt x="1013481" y="2322785"/>
                  <a:pt x="1013481" y="2322785"/>
                </a:cubicBezTo>
                <a:cubicBezTo>
                  <a:pt x="1006383" y="2310168"/>
                  <a:pt x="1006383" y="2310168"/>
                  <a:pt x="1006383" y="2310168"/>
                </a:cubicBezTo>
                <a:cubicBezTo>
                  <a:pt x="744534" y="2513617"/>
                  <a:pt x="744534" y="2513617"/>
                  <a:pt x="744534" y="2513617"/>
                </a:cubicBezTo>
                <a:cubicBezTo>
                  <a:pt x="744534" y="2166650"/>
                  <a:pt x="744534" y="2166650"/>
                  <a:pt x="744534" y="2166650"/>
                </a:cubicBezTo>
                <a:cubicBezTo>
                  <a:pt x="866783" y="2072022"/>
                  <a:pt x="866783" y="2072022"/>
                  <a:pt x="866783" y="2072022"/>
                </a:cubicBezTo>
                <a:cubicBezTo>
                  <a:pt x="860473" y="2060983"/>
                  <a:pt x="860473" y="2060983"/>
                  <a:pt x="860473" y="2060983"/>
                </a:cubicBezTo>
                <a:cubicBezTo>
                  <a:pt x="738225" y="2155610"/>
                  <a:pt x="738225" y="2155610"/>
                  <a:pt x="738225" y="2155610"/>
                </a:cubicBezTo>
                <a:cubicBezTo>
                  <a:pt x="373056" y="1878036"/>
                  <a:pt x="373056" y="1878036"/>
                  <a:pt x="373056" y="1878036"/>
                </a:cubicBezTo>
                <a:cubicBezTo>
                  <a:pt x="732704" y="1598885"/>
                  <a:pt x="732704" y="1598885"/>
                  <a:pt x="732704" y="1598885"/>
                </a:cubicBezTo>
                <a:close/>
                <a:moveTo>
                  <a:pt x="1480393" y="1238512"/>
                </a:moveTo>
                <a:cubicBezTo>
                  <a:pt x="1480393" y="1585480"/>
                  <a:pt x="1480393" y="1585480"/>
                  <a:pt x="1480393" y="1585480"/>
                </a:cubicBezTo>
                <a:cubicBezTo>
                  <a:pt x="1391269" y="1654085"/>
                  <a:pt x="1391269" y="1654085"/>
                  <a:pt x="1391269" y="1654085"/>
                </a:cubicBezTo>
                <a:cubicBezTo>
                  <a:pt x="1399156" y="1664336"/>
                  <a:pt x="1399156" y="1664336"/>
                  <a:pt x="1399156" y="1664336"/>
                </a:cubicBezTo>
                <a:cubicBezTo>
                  <a:pt x="1483547" y="1598885"/>
                  <a:pt x="1483547" y="1598885"/>
                  <a:pt x="1483547" y="1598885"/>
                </a:cubicBezTo>
                <a:cubicBezTo>
                  <a:pt x="1848716" y="1876459"/>
                  <a:pt x="1848716" y="1876459"/>
                  <a:pt x="1848716" y="1876459"/>
                </a:cubicBezTo>
                <a:cubicBezTo>
                  <a:pt x="1658639" y="2023920"/>
                  <a:pt x="1658639" y="2023920"/>
                  <a:pt x="1658639" y="2023920"/>
                </a:cubicBezTo>
                <a:cubicBezTo>
                  <a:pt x="1489068" y="2155610"/>
                  <a:pt x="1489068" y="2155610"/>
                  <a:pt x="1489068" y="2155610"/>
                </a:cubicBezTo>
                <a:cubicBezTo>
                  <a:pt x="1123900" y="1878036"/>
                  <a:pt x="1123900" y="1878036"/>
                  <a:pt x="1123900" y="1878036"/>
                </a:cubicBezTo>
                <a:cubicBezTo>
                  <a:pt x="1398368" y="1665124"/>
                  <a:pt x="1398368" y="1665124"/>
                  <a:pt x="1398368" y="1665124"/>
                </a:cubicBezTo>
                <a:cubicBezTo>
                  <a:pt x="1390481" y="1654085"/>
                  <a:pt x="1390481" y="1654085"/>
                  <a:pt x="1390481" y="1654085"/>
                </a:cubicBezTo>
                <a:cubicBezTo>
                  <a:pt x="1118379" y="1865419"/>
                  <a:pt x="1118379" y="1865419"/>
                  <a:pt x="1118379" y="1865419"/>
                </a:cubicBezTo>
                <a:cubicBezTo>
                  <a:pt x="1118379" y="1519240"/>
                  <a:pt x="1118379" y="1519240"/>
                  <a:pt x="1118379" y="1519240"/>
                </a:cubicBezTo>
                <a:cubicBezTo>
                  <a:pt x="1230374" y="1432499"/>
                  <a:pt x="1230374" y="1432499"/>
                  <a:pt x="1230374" y="1432499"/>
                </a:cubicBezTo>
                <a:cubicBezTo>
                  <a:pt x="1480393" y="1238512"/>
                  <a:pt x="1480393" y="1238512"/>
                  <a:pt x="1480393" y="1238512"/>
                </a:cubicBezTo>
                <a:close/>
                <a:moveTo>
                  <a:pt x="1110492" y="947533"/>
                </a:moveTo>
                <a:cubicBezTo>
                  <a:pt x="1475660" y="1225107"/>
                  <a:pt x="1475660" y="1225107"/>
                  <a:pt x="1475660" y="1225107"/>
                </a:cubicBezTo>
                <a:cubicBezTo>
                  <a:pt x="1223276" y="1421459"/>
                  <a:pt x="1223276" y="1421459"/>
                  <a:pt x="1223276" y="1421459"/>
                </a:cubicBezTo>
                <a:cubicBezTo>
                  <a:pt x="1230374" y="1432499"/>
                  <a:pt x="1230374" y="1432499"/>
                  <a:pt x="1230374" y="1432499"/>
                </a:cubicBezTo>
                <a:cubicBezTo>
                  <a:pt x="1222487" y="1422247"/>
                  <a:pt x="1222487" y="1422247"/>
                  <a:pt x="1222487" y="1422247"/>
                </a:cubicBezTo>
                <a:cubicBezTo>
                  <a:pt x="1112069" y="1508201"/>
                  <a:pt x="1112069" y="1508201"/>
                  <a:pt x="1112069" y="1508201"/>
                </a:cubicBezTo>
                <a:cubicBezTo>
                  <a:pt x="746900" y="1230627"/>
                  <a:pt x="746900" y="1230627"/>
                  <a:pt x="746900" y="1230627"/>
                </a:cubicBezTo>
                <a:cubicBezTo>
                  <a:pt x="1110492" y="947533"/>
                  <a:pt x="1110492" y="947533"/>
                  <a:pt x="1110492" y="947533"/>
                </a:cubicBezTo>
                <a:close/>
                <a:moveTo>
                  <a:pt x="1488280" y="296181"/>
                </a:moveTo>
                <a:cubicBezTo>
                  <a:pt x="1498533" y="304066"/>
                  <a:pt x="1498533" y="304066"/>
                  <a:pt x="1498533" y="304066"/>
                </a:cubicBezTo>
                <a:cubicBezTo>
                  <a:pt x="1853448" y="573754"/>
                  <a:pt x="1853448" y="573754"/>
                  <a:pt x="1853448" y="573754"/>
                </a:cubicBezTo>
                <a:cubicBezTo>
                  <a:pt x="1489068" y="856060"/>
                  <a:pt x="1489068" y="856060"/>
                  <a:pt x="1489068" y="856060"/>
                </a:cubicBezTo>
                <a:cubicBezTo>
                  <a:pt x="1123900" y="578486"/>
                  <a:pt x="1123900" y="578486"/>
                  <a:pt x="1123900" y="578486"/>
                </a:cubicBezTo>
                <a:cubicBezTo>
                  <a:pt x="1488280" y="296181"/>
                  <a:pt x="1488280" y="296181"/>
                  <a:pt x="1488280" y="296181"/>
                </a:cubicBezTo>
                <a:close/>
                <a:moveTo>
                  <a:pt x="1493012" y="0"/>
                </a:moveTo>
                <a:lnTo>
                  <a:pt x="5957423" y="0"/>
                </a:lnTo>
                <a:lnTo>
                  <a:pt x="5957423" y="6858000"/>
                </a:lnTo>
                <a:lnTo>
                  <a:pt x="843615" y="6858000"/>
                </a:lnTo>
                <a:lnTo>
                  <a:pt x="810785" y="6833040"/>
                </a:lnTo>
                <a:cubicBezTo>
                  <a:pt x="746900" y="6784470"/>
                  <a:pt x="746900" y="6784470"/>
                  <a:pt x="746900" y="6784470"/>
                </a:cubicBezTo>
                <a:cubicBezTo>
                  <a:pt x="746900" y="6429617"/>
                  <a:pt x="746900" y="6429617"/>
                  <a:pt x="746900" y="6429617"/>
                </a:cubicBezTo>
                <a:cubicBezTo>
                  <a:pt x="1019002" y="6218282"/>
                  <a:pt x="1019002" y="6218282"/>
                  <a:pt x="1019002" y="6218282"/>
                </a:cubicBezTo>
                <a:cubicBezTo>
                  <a:pt x="1012693" y="6206454"/>
                  <a:pt x="1012693" y="6206454"/>
                  <a:pt x="1012693" y="6206454"/>
                </a:cubicBezTo>
                <a:cubicBezTo>
                  <a:pt x="1019791" y="6217493"/>
                  <a:pt x="1019791" y="6217493"/>
                  <a:pt x="1019791" y="6217493"/>
                </a:cubicBezTo>
                <a:cubicBezTo>
                  <a:pt x="1110492" y="6147311"/>
                  <a:pt x="1110492" y="6147311"/>
                  <a:pt x="1110492" y="6147311"/>
                </a:cubicBezTo>
                <a:cubicBezTo>
                  <a:pt x="1489068" y="6435925"/>
                  <a:pt x="1489068" y="6435925"/>
                  <a:pt x="1489068" y="6435925"/>
                </a:cubicBezTo>
                <a:cubicBezTo>
                  <a:pt x="1870800" y="6140214"/>
                  <a:pt x="1870800" y="6140214"/>
                  <a:pt x="1870800" y="6140214"/>
                </a:cubicBezTo>
                <a:cubicBezTo>
                  <a:pt x="1870800" y="6021930"/>
                  <a:pt x="1870800" y="6021930"/>
                  <a:pt x="1870800" y="6021930"/>
                </a:cubicBezTo>
                <a:cubicBezTo>
                  <a:pt x="1857392" y="6027450"/>
                  <a:pt x="1857392" y="6027450"/>
                  <a:pt x="1857392" y="6027450"/>
                </a:cubicBezTo>
                <a:cubicBezTo>
                  <a:pt x="1857392" y="6133906"/>
                  <a:pt x="1857392" y="6133906"/>
                  <a:pt x="1857392" y="6133906"/>
                </a:cubicBezTo>
                <a:cubicBezTo>
                  <a:pt x="1495378" y="6413845"/>
                  <a:pt x="1495378" y="6413845"/>
                  <a:pt x="1495378" y="6413845"/>
                </a:cubicBezTo>
                <a:cubicBezTo>
                  <a:pt x="1495378" y="6067667"/>
                  <a:pt x="1495378" y="6067667"/>
                  <a:pt x="1495378" y="6067667"/>
                </a:cubicBezTo>
                <a:cubicBezTo>
                  <a:pt x="1857392" y="5786939"/>
                  <a:pt x="1857392" y="5786939"/>
                  <a:pt x="1857392" y="5786939"/>
                </a:cubicBezTo>
                <a:cubicBezTo>
                  <a:pt x="1857392" y="6026661"/>
                  <a:pt x="1857392" y="6026661"/>
                  <a:pt x="1857392" y="6026661"/>
                </a:cubicBezTo>
                <a:cubicBezTo>
                  <a:pt x="1870800" y="6021141"/>
                  <a:pt x="1870800" y="6021141"/>
                  <a:pt x="1870800" y="6021141"/>
                </a:cubicBezTo>
                <a:cubicBezTo>
                  <a:pt x="1870800" y="5770379"/>
                  <a:pt x="1870800" y="5770379"/>
                  <a:pt x="1870800" y="5770379"/>
                </a:cubicBezTo>
                <a:cubicBezTo>
                  <a:pt x="1739875" y="5671020"/>
                  <a:pt x="1739875" y="5671020"/>
                  <a:pt x="1739875" y="5671020"/>
                </a:cubicBezTo>
                <a:cubicBezTo>
                  <a:pt x="1497744" y="5487285"/>
                  <a:pt x="1497744" y="5487285"/>
                  <a:pt x="1497744" y="5487285"/>
                </a:cubicBezTo>
                <a:cubicBezTo>
                  <a:pt x="1497744" y="5307493"/>
                  <a:pt x="1497744" y="5307493"/>
                  <a:pt x="1497744" y="5307493"/>
                </a:cubicBezTo>
                <a:cubicBezTo>
                  <a:pt x="1484336" y="5309858"/>
                  <a:pt x="1484336" y="5309858"/>
                  <a:pt x="1484336" y="5309858"/>
                </a:cubicBezTo>
                <a:cubicBezTo>
                  <a:pt x="1484336" y="5480976"/>
                  <a:pt x="1484336" y="5480976"/>
                  <a:pt x="1484336" y="5480976"/>
                </a:cubicBezTo>
                <a:cubicBezTo>
                  <a:pt x="1122322" y="5761705"/>
                  <a:pt x="1122322" y="5761705"/>
                  <a:pt x="1122322" y="5761705"/>
                </a:cubicBezTo>
                <a:cubicBezTo>
                  <a:pt x="1122322" y="5415526"/>
                  <a:pt x="1122322" y="5415526"/>
                  <a:pt x="1122322" y="5415526"/>
                </a:cubicBezTo>
                <a:cubicBezTo>
                  <a:pt x="1292682" y="5283047"/>
                  <a:pt x="1292682" y="5283047"/>
                  <a:pt x="1292682" y="5283047"/>
                </a:cubicBezTo>
                <a:cubicBezTo>
                  <a:pt x="1285583" y="5272796"/>
                  <a:pt x="1285583" y="5272796"/>
                  <a:pt x="1285583" y="5272796"/>
                </a:cubicBezTo>
                <a:cubicBezTo>
                  <a:pt x="1116013" y="5403697"/>
                  <a:pt x="1116013" y="5403697"/>
                  <a:pt x="1116013" y="5403697"/>
                </a:cubicBezTo>
                <a:cubicBezTo>
                  <a:pt x="750844" y="5126124"/>
                  <a:pt x="750844" y="5126124"/>
                  <a:pt x="750844" y="5126124"/>
                </a:cubicBezTo>
                <a:cubicBezTo>
                  <a:pt x="1025312" y="4913212"/>
                  <a:pt x="1025312" y="4913212"/>
                  <a:pt x="1025312" y="4913212"/>
                </a:cubicBezTo>
                <a:cubicBezTo>
                  <a:pt x="1110492" y="4847761"/>
                  <a:pt x="1110492" y="4847761"/>
                  <a:pt x="1110492" y="4847761"/>
                </a:cubicBezTo>
                <a:cubicBezTo>
                  <a:pt x="1475660" y="5125335"/>
                  <a:pt x="1475660" y="5125335"/>
                  <a:pt x="1475660" y="5125335"/>
                </a:cubicBezTo>
                <a:cubicBezTo>
                  <a:pt x="1285583" y="5272008"/>
                  <a:pt x="1285583" y="5272008"/>
                  <a:pt x="1285583" y="5272008"/>
                </a:cubicBezTo>
                <a:cubicBezTo>
                  <a:pt x="1293470" y="5283047"/>
                  <a:pt x="1293470" y="5283047"/>
                  <a:pt x="1293470" y="5283047"/>
                </a:cubicBezTo>
                <a:cubicBezTo>
                  <a:pt x="1484336" y="5134798"/>
                  <a:pt x="1484336" y="5134798"/>
                  <a:pt x="1484336" y="5134798"/>
                </a:cubicBezTo>
                <a:cubicBezTo>
                  <a:pt x="1484336" y="5309070"/>
                  <a:pt x="1484336" y="5309070"/>
                  <a:pt x="1484336" y="5309070"/>
                </a:cubicBezTo>
                <a:cubicBezTo>
                  <a:pt x="1497744" y="5306704"/>
                  <a:pt x="1497744" y="5306704"/>
                  <a:pt x="1497744" y="5306704"/>
                </a:cubicBezTo>
                <a:cubicBezTo>
                  <a:pt x="1497744" y="5129278"/>
                  <a:pt x="1497744" y="5129278"/>
                  <a:pt x="1497744" y="5129278"/>
                </a:cubicBezTo>
                <a:cubicBezTo>
                  <a:pt x="1513518" y="5116661"/>
                  <a:pt x="1513518" y="5116661"/>
                  <a:pt x="1513518" y="5116661"/>
                </a:cubicBezTo>
                <a:cubicBezTo>
                  <a:pt x="1513518" y="5100101"/>
                  <a:pt x="1513518" y="5100101"/>
                  <a:pt x="1513518" y="5100101"/>
                </a:cubicBezTo>
                <a:cubicBezTo>
                  <a:pt x="1495378" y="5114295"/>
                  <a:pt x="1495378" y="5114295"/>
                  <a:pt x="1495378" y="5114295"/>
                </a:cubicBezTo>
                <a:cubicBezTo>
                  <a:pt x="1495378" y="4768116"/>
                  <a:pt x="1495378" y="4768116"/>
                  <a:pt x="1495378" y="4768116"/>
                </a:cubicBezTo>
                <a:cubicBezTo>
                  <a:pt x="1513518" y="4753922"/>
                  <a:pt x="1513518" y="4753922"/>
                  <a:pt x="1513518" y="4753922"/>
                </a:cubicBezTo>
                <a:cubicBezTo>
                  <a:pt x="1513518" y="4737362"/>
                  <a:pt x="1513518" y="4737362"/>
                  <a:pt x="1513518" y="4737362"/>
                </a:cubicBezTo>
                <a:cubicBezTo>
                  <a:pt x="1489068" y="4756288"/>
                  <a:pt x="1489068" y="4756288"/>
                  <a:pt x="1489068" y="4756288"/>
                </a:cubicBezTo>
                <a:cubicBezTo>
                  <a:pt x="1123900" y="4478714"/>
                  <a:pt x="1123900" y="4478714"/>
                  <a:pt x="1123900" y="4478714"/>
                </a:cubicBezTo>
                <a:cubicBezTo>
                  <a:pt x="1488280" y="4196409"/>
                  <a:pt x="1488280" y="4196409"/>
                  <a:pt x="1488280" y="4196409"/>
                </a:cubicBezTo>
                <a:cubicBezTo>
                  <a:pt x="1853448" y="4473983"/>
                  <a:pt x="1853448" y="4473983"/>
                  <a:pt x="1853448" y="4473983"/>
                </a:cubicBezTo>
                <a:cubicBezTo>
                  <a:pt x="1514307" y="4737362"/>
                  <a:pt x="1514307" y="4737362"/>
                  <a:pt x="1514307" y="4737362"/>
                </a:cubicBezTo>
                <a:cubicBezTo>
                  <a:pt x="1514307" y="4753134"/>
                  <a:pt x="1514307" y="4753134"/>
                  <a:pt x="1514307" y="4753134"/>
                </a:cubicBezTo>
                <a:cubicBezTo>
                  <a:pt x="1857392" y="4487388"/>
                  <a:pt x="1857392" y="4487388"/>
                  <a:pt x="1857392" y="4487388"/>
                </a:cubicBezTo>
                <a:cubicBezTo>
                  <a:pt x="1857392" y="4833567"/>
                  <a:pt x="1857392" y="4833567"/>
                  <a:pt x="1857392" y="4833567"/>
                </a:cubicBezTo>
                <a:cubicBezTo>
                  <a:pt x="1514307" y="5100101"/>
                  <a:pt x="1514307" y="5100101"/>
                  <a:pt x="1514307" y="5100101"/>
                </a:cubicBezTo>
                <a:cubicBezTo>
                  <a:pt x="1514307" y="5116661"/>
                  <a:pt x="1514307" y="5116661"/>
                  <a:pt x="1514307" y="5116661"/>
                </a:cubicBezTo>
                <a:cubicBezTo>
                  <a:pt x="1870800" y="4839875"/>
                  <a:pt x="1870800" y="4839875"/>
                  <a:pt x="1870800" y="4839875"/>
                </a:cubicBezTo>
                <a:cubicBezTo>
                  <a:pt x="1870800" y="4470828"/>
                  <a:pt x="1870800" y="4470828"/>
                  <a:pt x="1870800" y="4470828"/>
                </a:cubicBezTo>
                <a:cubicBezTo>
                  <a:pt x="1497744" y="4186946"/>
                  <a:pt x="1497744" y="4186946"/>
                  <a:pt x="1497744" y="4186946"/>
                </a:cubicBezTo>
                <a:cubicBezTo>
                  <a:pt x="1497744" y="3839190"/>
                  <a:pt x="1497744" y="3839190"/>
                  <a:pt x="1497744" y="3839190"/>
                </a:cubicBezTo>
                <a:cubicBezTo>
                  <a:pt x="1484336" y="3849441"/>
                  <a:pt x="1484336" y="3849441"/>
                  <a:pt x="1484336" y="3849441"/>
                </a:cubicBezTo>
                <a:cubicBezTo>
                  <a:pt x="1484336" y="4182215"/>
                  <a:pt x="1484336" y="4182215"/>
                  <a:pt x="1484336" y="4182215"/>
                </a:cubicBezTo>
                <a:cubicBezTo>
                  <a:pt x="1122322" y="4462154"/>
                  <a:pt x="1122322" y="4462154"/>
                  <a:pt x="1122322" y="4462154"/>
                </a:cubicBezTo>
                <a:cubicBezTo>
                  <a:pt x="1122322" y="4115975"/>
                  <a:pt x="1122322" y="4115975"/>
                  <a:pt x="1122322" y="4115975"/>
                </a:cubicBezTo>
                <a:cubicBezTo>
                  <a:pt x="1484336" y="3835248"/>
                  <a:pt x="1484336" y="3835248"/>
                  <a:pt x="1484336" y="3835248"/>
                </a:cubicBezTo>
                <a:cubicBezTo>
                  <a:pt x="1484336" y="3848653"/>
                  <a:pt x="1484336" y="3848653"/>
                  <a:pt x="1484336" y="3848653"/>
                </a:cubicBezTo>
                <a:cubicBezTo>
                  <a:pt x="1497744" y="3838402"/>
                  <a:pt x="1497744" y="3838402"/>
                  <a:pt x="1497744" y="3838402"/>
                </a:cubicBezTo>
                <a:cubicBezTo>
                  <a:pt x="1497744" y="3818688"/>
                  <a:pt x="1497744" y="3818688"/>
                  <a:pt x="1497744" y="3818688"/>
                </a:cubicBezTo>
                <a:cubicBezTo>
                  <a:pt x="1136519" y="3544268"/>
                  <a:pt x="1136519" y="3544268"/>
                  <a:pt x="1136519" y="3544268"/>
                </a:cubicBezTo>
                <a:cubicBezTo>
                  <a:pt x="1125477" y="3552154"/>
                  <a:pt x="1125477" y="3552154"/>
                  <a:pt x="1125477" y="3552154"/>
                </a:cubicBezTo>
                <a:cubicBezTo>
                  <a:pt x="1135730" y="3543479"/>
                  <a:pt x="1135730" y="3543479"/>
                  <a:pt x="1135730" y="3543479"/>
                </a:cubicBezTo>
                <a:cubicBezTo>
                  <a:pt x="1119956" y="3531651"/>
                  <a:pt x="1119956" y="3531651"/>
                  <a:pt x="1119956" y="3531651"/>
                </a:cubicBezTo>
                <a:cubicBezTo>
                  <a:pt x="1119956" y="3519822"/>
                  <a:pt x="1119956" y="3519822"/>
                  <a:pt x="1119956" y="3519822"/>
                </a:cubicBezTo>
                <a:cubicBezTo>
                  <a:pt x="1106548" y="3519822"/>
                  <a:pt x="1106548" y="3519822"/>
                  <a:pt x="1106548" y="3519822"/>
                </a:cubicBezTo>
                <a:cubicBezTo>
                  <a:pt x="1106548" y="3532439"/>
                  <a:pt x="1106548" y="3532439"/>
                  <a:pt x="1106548" y="3532439"/>
                </a:cubicBezTo>
                <a:cubicBezTo>
                  <a:pt x="744534" y="3812379"/>
                  <a:pt x="744534" y="3812379"/>
                  <a:pt x="744534" y="3812379"/>
                </a:cubicBezTo>
                <a:cubicBezTo>
                  <a:pt x="744534" y="3495377"/>
                  <a:pt x="744534" y="3495377"/>
                  <a:pt x="744534" y="3495377"/>
                </a:cubicBezTo>
                <a:cubicBezTo>
                  <a:pt x="744534" y="3466989"/>
                  <a:pt x="744534" y="3466989"/>
                  <a:pt x="744534" y="3466989"/>
                </a:cubicBezTo>
                <a:cubicBezTo>
                  <a:pt x="1106548" y="3186261"/>
                  <a:pt x="1106548" y="3186261"/>
                  <a:pt x="1106548" y="3186261"/>
                </a:cubicBezTo>
                <a:cubicBezTo>
                  <a:pt x="1106548" y="3500109"/>
                  <a:pt x="1106548" y="3500109"/>
                  <a:pt x="1106548" y="3500109"/>
                </a:cubicBezTo>
                <a:cubicBezTo>
                  <a:pt x="1106548" y="3519034"/>
                  <a:pt x="1106548" y="3519034"/>
                  <a:pt x="1106548" y="3519034"/>
                </a:cubicBezTo>
                <a:cubicBezTo>
                  <a:pt x="1119956" y="3519034"/>
                  <a:pt x="1119956" y="3519034"/>
                  <a:pt x="1119956" y="3519034"/>
                </a:cubicBezTo>
                <a:cubicBezTo>
                  <a:pt x="1119956" y="3180741"/>
                  <a:pt x="1119956" y="3180741"/>
                  <a:pt x="1119956" y="3180741"/>
                </a:cubicBezTo>
                <a:cubicBezTo>
                  <a:pt x="1392847" y="2969406"/>
                  <a:pt x="1392847" y="2969406"/>
                  <a:pt x="1392847" y="2969406"/>
                </a:cubicBezTo>
                <a:cubicBezTo>
                  <a:pt x="1483547" y="2899224"/>
                  <a:pt x="1483547" y="2899224"/>
                  <a:pt x="1483547" y="2899224"/>
                </a:cubicBezTo>
                <a:cubicBezTo>
                  <a:pt x="1862913" y="3187049"/>
                  <a:pt x="1862913" y="3187049"/>
                  <a:pt x="1862913" y="3187049"/>
                </a:cubicBezTo>
                <a:cubicBezTo>
                  <a:pt x="2243855" y="2891339"/>
                  <a:pt x="2243855" y="2891339"/>
                  <a:pt x="2243855" y="2891339"/>
                </a:cubicBezTo>
                <a:cubicBezTo>
                  <a:pt x="2243855" y="2773843"/>
                  <a:pt x="2243855" y="2773843"/>
                  <a:pt x="2243855" y="2773843"/>
                </a:cubicBezTo>
                <a:cubicBezTo>
                  <a:pt x="2231236" y="2779363"/>
                  <a:pt x="2231236" y="2779363"/>
                  <a:pt x="2231236" y="2779363"/>
                </a:cubicBezTo>
                <a:cubicBezTo>
                  <a:pt x="2231236" y="2885030"/>
                  <a:pt x="2231236" y="2885030"/>
                  <a:pt x="2231236" y="2885030"/>
                </a:cubicBezTo>
                <a:cubicBezTo>
                  <a:pt x="1869222" y="3165758"/>
                  <a:pt x="1869222" y="3165758"/>
                  <a:pt x="1869222" y="3165758"/>
                </a:cubicBezTo>
                <a:cubicBezTo>
                  <a:pt x="1869222" y="2819579"/>
                  <a:pt x="1869222" y="2819579"/>
                  <a:pt x="1869222" y="2819579"/>
                </a:cubicBezTo>
                <a:cubicBezTo>
                  <a:pt x="2231236" y="2538851"/>
                  <a:pt x="2231236" y="2538851"/>
                  <a:pt x="2231236" y="2538851"/>
                </a:cubicBezTo>
                <a:cubicBezTo>
                  <a:pt x="2231236" y="2778574"/>
                  <a:pt x="2231236" y="2778574"/>
                  <a:pt x="2231236" y="2778574"/>
                </a:cubicBezTo>
                <a:cubicBezTo>
                  <a:pt x="2243855" y="2773054"/>
                  <a:pt x="2243855" y="2773054"/>
                  <a:pt x="2243855" y="2773054"/>
                </a:cubicBezTo>
                <a:cubicBezTo>
                  <a:pt x="2243855" y="2522291"/>
                  <a:pt x="2243855" y="2522291"/>
                  <a:pt x="2243855" y="2522291"/>
                </a:cubicBezTo>
                <a:cubicBezTo>
                  <a:pt x="2113720" y="2422933"/>
                  <a:pt x="2113720" y="2422933"/>
                  <a:pt x="2113720" y="2422933"/>
                </a:cubicBezTo>
                <a:cubicBezTo>
                  <a:pt x="2100312" y="2429241"/>
                  <a:pt x="2100312" y="2429241"/>
                  <a:pt x="2100312" y="2429241"/>
                </a:cubicBezTo>
                <a:cubicBezTo>
                  <a:pt x="2226503" y="2525446"/>
                  <a:pt x="2226503" y="2525446"/>
                  <a:pt x="2226503" y="2525446"/>
                </a:cubicBezTo>
                <a:cubicBezTo>
                  <a:pt x="1862124" y="2807751"/>
                  <a:pt x="1862124" y="2807751"/>
                  <a:pt x="1862124" y="2807751"/>
                </a:cubicBezTo>
                <a:cubicBezTo>
                  <a:pt x="1496955" y="2530177"/>
                  <a:pt x="1496955" y="2530177"/>
                  <a:pt x="1496955" y="2530177"/>
                </a:cubicBezTo>
                <a:cubicBezTo>
                  <a:pt x="1861335" y="2247872"/>
                  <a:pt x="1861335" y="2247872"/>
                  <a:pt x="1861335" y="2247872"/>
                </a:cubicBezTo>
                <a:cubicBezTo>
                  <a:pt x="2099523" y="2428452"/>
                  <a:pt x="2099523" y="2428452"/>
                  <a:pt x="2099523" y="2428452"/>
                </a:cubicBezTo>
                <a:cubicBezTo>
                  <a:pt x="2112931" y="2422144"/>
                  <a:pt x="2112931" y="2422144"/>
                  <a:pt x="2112931" y="2422144"/>
                </a:cubicBezTo>
                <a:cubicBezTo>
                  <a:pt x="1870800" y="2238409"/>
                  <a:pt x="1870800" y="2238409"/>
                  <a:pt x="1870800" y="2238409"/>
                </a:cubicBezTo>
                <a:cubicBezTo>
                  <a:pt x="1870800" y="2059405"/>
                  <a:pt x="1870800" y="2059405"/>
                  <a:pt x="1870800" y="2059405"/>
                </a:cubicBezTo>
                <a:cubicBezTo>
                  <a:pt x="1857392" y="2060983"/>
                  <a:pt x="1857392" y="2060983"/>
                  <a:pt x="1857392" y="2060983"/>
                </a:cubicBezTo>
                <a:cubicBezTo>
                  <a:pt x="1857392" y="2232889"/>
                  <a:pt x="1857392" y="2232889"/>
                  <a:pt x="1857392" y="2232889"/>
                </a:cubicBezTo>
                <a:cubicBezTo>
                  <a:pt x="1496167" y="2513617"/>
                  <a:pt x="1496167" y="2513617"/>
                  <a:pt x="1496167" y="2513617"/>
                </a:cubicBezTo>
                <a:cubicBezTo>
                  <a:pt x="1496167" y="2166650"/>
                  <a:pt x="1496167" y="2166650"/>
                  <a:pt x="1496167" y="2166650"/>
                </a:cubicBezTo>
                <a:cubicBezTo>
                  <a:pt x="1666526" y="2034960"/>
                  <a:pt x="1666526" y="2034960"/>
                  <a:pt x="1666526" y="2034960"/>
                </a:cubicBezTo>
                <a:cubicBezTo>
                  <a:pt x="1658639" y="2023920"/>
                  <a:pt x="1658639" y="2023920"/>
                  <a:pt x="1658639" y="2023920"/>
                </a:cubicBezTo>
                <a:cubicBezTo>
                  <a:pt x="1666526" y="2034172"/>
                  <a:pt x="1666526" y="2034172"/>
                  <a:pt x="1666526" y="2034172"/>
                </a:cubicBezTo>
                <a:cubicBezTo>
                  <a:pt x="1857392" y="1885922"/>
                  <a:pt x="1857392" y="1885922"/>
                  <a:pt x="1857392" y="1885922"/>
                </a:cubicBezTo>
                <a:cubicBezTo>
                  <a:pt x="1857392" y="2060194"/>
                  <a:pt x="1857392" y="2060194"/>
                  <a:pt x="1857392" y="2060194"/>
                </a:cubicBezTo>
                <a:cubicBezTo>
                  <a:pt x="1870800" y="2058617"/>
                  <a:pt x="1870800" y="2058617"/>
                  <a:pt x="1870800" y="2058617"/>
                </a:cubicBezTo>
                <a:cubicBezTo>
                  <a:pt x="1870800" y="1881190"/>
                  <a:pt x="1870800" y="1881190"/>
                  <a:pt x="1870800" y="1881190"/>
                </a:cubicBezTo>
                <a:cubicBezTo>
                  <a:pt x="1886574" y="1868573"/>
                  <a:pt x="1886574" y="1868573"/>
                  <a:pt x="1886574" y="1868573"/>
                </a:cubicBezTo>
                <a:cubicBezTo>
                  <a:pt x="1886574" y="1852014"/>
                  <a:pt x="1886574" y="1852014"/>
                  <a:pt x="1886574" y="1852014"/>
                </a:cubicBezTo>
                <a:cubicBezTo>
                  <a:pt x="1869222" y="1865419"/>
                  <a:pt x="1869222" y="1865419"/>
                  <a:pt x="1869222" y="1865419"/>
                </a:cubicBezTo>
                <a:cubicBezTo>
                  <a:pt x="1869222" y="1519240"/>
                  <a:pt x="1869222" y="1519240"/>
                  <a:pt x="1869222" y="1519240"/>
                </a:cubicBezTo>
                <a:cubicBezTo>
                  <a:pt x="1886574" y="1505835"/>
                  <a:pt x="1886574" y="1505835"/>
                  <a:pt x="1886574" y="1505835"/>
                </a:cubicBezTo>
                <a:cubicBezTo>
                  <a:pt x="1886574" y="1489275"/>
                  <a:pt x="1886574" y="1489275"/>
                  <a:pt x="1886574" y="1489275"/>
                </a:cubicBezTo>
                <a:cubicBezTo>
                  <a:pt x="1862124" y="1508201"/>
                  <a:pt x="1862124" y="1508201"/>
                  <a:pt x="1862124" y="1508201"/>
                </a:cubicBezTo>
                <a:cubicBezTo>
                  <a:pt x="1496955" y="1230627"/>
                  <a:pt x="1496955" y="1230627"/>
                  <a:pt x="1496955" y="1230627"/>
                </a:cubicBezTo>
                <a:cubicBezTo>
                  <a:pt x="1861335" y="947533"/>
                  <a:pt x="1861335" y="947533"/>
                  <a:pt x="1861335" y="947533"/>
                </a:cubicBezTo>
                <a:cubicBezTo>
                  <a:pt x="2226503" y="1225107"/>
                  <a:pt x="2226503" y="1225107"/>
                  <a:pt x="2226503" y="1225107"/>
                </a:cubicBezTo>
                <a:cubicBezTo>
                  <a:pt x="1887362" y="1488487"/>
                  <a:pt x="1887362" y="1488487"/>
                  <a:pt x="1887362" y="1488487"/>
                </a:cubicBezTo>
                <a:cubicBezTo>
                  <a:pt x="1887362" y="1505046"/>
                  <a:pt x="1887362" y="1505046"/>
                  <a:pt x="1887362" y="1505046"/>
                </a:cubicBezTo>
                <a:cubicBezTo>
                  <a:pt x="2231236" y="1238512"/>
                  <a:pt x="2231236" y="1238512"/>
                  <a:pt x="2231236" y="1238512"/>
                </a:cubicBezTo>
                <a:cubicBezTo>
                  <a:pt x="2231236" y="1585480"/>
                  <a:pt x="2231236" y="1585480"/>
                  <a:pt x="2231236" y="1585480"/>
                </a:cubicBezTo>
                <a:lnTo>
                  <a:pt x="1887362" y="1851225"/>
                </a:lnTo>
                <a:cubicBezTo>
                  <a:pt x="1887362" y="1867785"/>
                  <a:pt x="1887362" y="1867785"/>
                  <a:pt x="1887362" y="1867785"/>
                </a:cubicBezTo>
                <a:cubicBezTo>
                  <a:pt x="2243855" y="1591788"/>
                  <a:pt x="2243855" y="1591788"/>
                  <a:pt x="2243855" y="1591788"/>
                </a:cubicBezTo>
                <a:cubicBezTo>
                  <a:pt x="2243855" y="1221952"/>
                  <a:pt x="2243855" y="1221952"/>
                  <a:pt x="2243855" y="1221952"/>
                </a:cubicBezTo>
                <a:cubicBezTo>
                  <a:pt x="1870800" y="938859"/>
                  <a:pt x="1870800" y="938859"/>
                  <a:pt x="1870800" y="938859"/>
                </a:cubicBezTo>
                <a:cubicBezTo>
                  <a:pt x="1870800" y="590314"/>
                  <a:pt x="1870800" y="590314"/>
                  <a:pt x="1870800" y="590314"/>
                </a:cubicBezTo>
                <a:cubicBezTo>
                  <a:pt x="1857392" y="600566"/>
                  <a:pt x="1857392" y="600566"/>
                  <a:pt x="1857392" y="600566"/>
                </a:cubicBezTo>
                <a:cubicBezTo>
                  <a:pt x="1857392" y="933339"/>
                  <a:pt x="1857392" y="933339"/>
                  <a:pt x="1857392" y="933339"/>
                </a:cubicBezTo>
                <a:cubicBezTo>
                  <a:pt x="1496167" y="1214067"/>
                  <a:pt x="1496167" y="1214067"/>
                  <a:pt x="1496167" y="1214067"/>
                </a:cubicBezTo>
                <a:cubicBezTo>
                  <a:pt x="1496167" y="867888"/>
                  <a:pt x="1496167" y="867888"/>
                  <a:pt x="1496167" y="867888"/>
                </a:cubicBezTo>
                <a:cubicBezTo>
                  <a:pt x="1857392" y="587160"/>
                  <a:pt x="1857392" y="587160"/>
                  <a:pt x="1857392" y="587160"/>
                </a:cubicBezTo>
                <a:cubicBezTo>
                  <a:pt x="1857392" y="599777"/>
                  <a:pt x="1857392" y="599777"/>
                  <a:pt x="1857392" y="599777"/>
                </a:cubicBezTo>
                <a:cubicBezTo>
                  <a:pt x="1870800" y="589526"/>
                  <a:pt x="1870800" y="589526"/>
                  <a:pt x="1870800" y="589526"/>
                </a:cubicBezTo>
                <a:cubicBezTo>
                  <a:pt x="1870800" y="570600"/>
                  <a:pt x="1870800" y="570600"/>
                  <a:pt x="1870800" y="570600"/>
                </a:cubicBezTo>
                <a:cubicBezTo>
                  <a:pt x="1509574" y="295392"/>
                  <a:pt x="1509574" y="295392"/>
                  <a:pt x="1509574" y="295392"/>
                </a:cubicBezTo>
                <a:cubicBezTo>
                  <a:pt x="1498533" y="304066"/>
                  <a:pt x="1498533" y="304066"/>
                  <a:pt x="1498533" y="304066"/>
                </a:cubicBezTo>
                <a:cubicBezTo>
                  <a:pt x="1508786" y="295392"/>
                  <a:pt x="1508786" y="295392"/>
                  <a:pt x="1508786" y="295392"/>
                </a:cubicBezTo>
                <a:cubicBezTo>
                  <a:pt x="1493012" y="283564"/>
                  <a:pt x="1493012" y="283564"/>
                  <a:pt x="1493012" y="283564"/>
                </a:cubicBezTo>
                <a:cubicBezTo>
                  <a:pt x="1493012" y="97759"/>
                  <a:pt x="1493012" y="28082"/>
                  <a:pt x="1493012" y="1953"/>
                </a:cubicBezTo>
                <a:close/>
                <a:moveTo>
                  <a:pt x="1398859" y="0"/>
                </a:moveTo>
                <a:lnTo>
                  <a:pt x="1480393" y="0"/>
                </a:lnTo>
                <a:lnTo>
                  <a:pt x="1480393" y="84404"/>
                </a:lnTo>
                <a:cubicBezTo>
                  <a:pt x="1480393" y="283564"/>
                  <a:pt x="1480393" y="283564"/>
                  <a:pt x="1480393" y="283564"/>
                </a:cubicBezTo>
                <a:cubicBezTo>
                  <a:pt x="1118379" y="564292"/>
                  <a:pt x="1118379" y="564292"/>
                  <a:pt x="1118379" y="564292"/>
                </a:cubicBezTo>
                <a:cubicBezTo>
                  <a:pt x="1118379" y="218113"/>
                  <a:pt x="1118379" y="218113"/>
                  <a:pt x="1118379" y="218113"/>
                </a:cubicBezTo>
                <a:cubicBezTo>
                  <a:pt x="1267443" y="102194"/>
                  <a:pt x="1341976" y="44235"/>
                  <a:pt x="1379242" y="15255"/>
                </a:cubicBezTo>
                <a:close/>
                <a:moveTo>
                  <a:pt x="840168" y="0"/>
                </a:moveTo>
                <a:lnTo>
                  <a:pt x="1377550" y="0"/>
                </a:lnTo>
                <a:lnTo>
                  <a:pt x="1301753" y="58896"/>
                </a:lnTo>
                <a:cubicBezTo>
                  <a:pt x="1112069" y="206284"/>
                  <a:pt x="1112069" y="206284"/>
                  <a:pt x="1112069" y="206284"/>
                </a:cubicBezTo>
                <a:cubicBezTo>
                  <a:pt x="966554" y="95886"/>
                  <a:pt x="893796" y="40686"/>
                  <a:pt x="857417" y="13087"/>
                </a:cubicBezTo>
                <a:close/>
              </a:path>
            </a:pathLst>
          </a:custGeom>
          <a:solidFill>
            <a:schemeClr val="bg1">
              <a:lumMod val="65000"/>
            </a:schemeClr>
          </a:solidFill>
        </p:spPr>
        <p:txBody>
          <a:bodyPr wrap="square" tIns="540000" rIns="540000">
            <a:noAutofit/>
          </a:bodyPr>
          <a:lstStyle>
            <a:lvl1pPr algn="r">
              <a:defRPr>
                <a:solidFill>
                  <a:schemeClr val="accent2">
                    <a:lumMod val="40000"/>
                    <a:lumOff val="60000"/>
                  </a:schemeClr>
                </a:solidFill>
              </a:defRPr>
            </a:lvl1pPr>
          </a:lstStyle>
          <a:p>
            <a:r>
              <a:rPr lang="fr-FR" dirty="0"/>
              <a:t>Insérez ou glissez votre image ici</a:t>
            </a:r>
          </a:p>
        </p:txBody>
      </p:sp>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a:xfrm>
            <a:off x="548879" y="1035844"/>
            <a:ext cx="4588993" cy="339923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9" name="Titre 10">
            <a:extLst>
              <a:ext uri="{FF2B5EF4-FFF2-40B4-BE49-F238E27FC236}">
                <a16:creationId xmlns:a16="http://schemas.microsoft.com/office/drawing/2014/main" id="{E8A77A76-28CB-5629-14F2-37B56A986D79}"/>
              </a:ext>
            </a:extLst>
          </p:cNvPr>
          <p:cNvSpPr>
            <a:spLocks noGrp="1"/>
          </p:cNvSpPr>
          <p:nvPr>
            <p:ph type="title"/>
          </p:nvPr>
        </p:nvSpPr>
        <p:spPr>
          <a:xfrm>
            <a:off x="548880" y="235528"/>
            <a:ext cx="4588992" cy="653870"/>
          </a:xfrm>
        </p:spPr>
        <p:txBody>
          <a:bodyPr/>
          <a:lstStyle>
            <a:lvl1pPr>
              <a:defRPr>
                <a:solidFill>
                  <a:schemeClr val="tx2"/>
                </a:solidFill>
              </a:defRPr>
            </a:lvl1pPr>
          </a:lstStyle>
          <a:p>
            <a:r>
              <a:rPr lang="fr-FR"/>
              <a:t>Modifiez le style du titre</a:t>
            </a:r>
            <a:endParaRPr lang="fr-FR" dirty="0"/>
          </a:p>
        </p:txBody>
      </p:sp>
    </p:spTree>
    <p:extLst>
      <p:ext uri="{BB962C8B-B14F-4D97-AF65-F5344CB8AC3E}">
        <p14:creationId xmlns:p14="http://schemas.microsoft.com/office/powerpoint/2010/main" val="987467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61609" y="82253"/>
            <a:ext cx="7543800" cy="342900"/>
          </a:xfr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457200" y="1254135"/>
            <a:ext cx="8229600" cy="3672408"/>
          </a:xfrm>
        </p:spPr>
        <p:txBody>
          <a:bodyPr/>
          <a:lstStyle>
            <a:lvl1pPr marL="342900" indent="-342900">
              <a:buFont typeface="Wingdings" panose="05000000000000000000" pitchFamily="2" charset="2"/>
              <a:buChar char="§"/>
              <a:defRPr sz="2400">
                <a:latin typeface="Arial" panose="020B0604020202020204" pitchFamily="34" charset="0"/>
                <a:cs typeface="Arial" panose="020B0604020202020204" pitchFamily="34" charset="0"/>
              </a:defRPr>
            </a:lvl1pPr>
            <a:lvl2pPr marL="742950" indent="-285750">
              <a:buFont typeface="Wingdings" panose="05000000000000000000" pitchFamily="2" charset="2"/>
              <a:buChar char="§"/>
              <a:defRPr sz="2000">
                <a:latin typeface="Arial" panose="020B0604020202020204" pitchFamily="34" charset="0"/>
                <a:cs typeface="Arial" panose="020B0604020202020204" pitchFamily="34" charset="0"/>
              </a:defRPr>
            </a:lvl2pPr>
            <a:lvl3pPr marL="1143000" indent="-228600">
              <a:buFont typeface="Wingdings" panose="05000000000000000000" pitchFamily="2" charset="2"/>
              <a:buChar char="§"/>
              <a:defRPr sz="18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t>Jan W. Coenen</a:t>
            </a:r>
            <a:r>
              <a:rPr lang="en-GB" dirty="0">
                <a:solidFill>
                  <a:srgbClr val="FF0000"/>
                </a:solidFill>
              </a:rPr>
              <a:t> </a:t>
            </a:r>
            <a:r>
              <a:rPr lang="en-GB" dirty="0"/>
              <a:t>| WPPWIE Helsinki Meeting  | 08.07.2024 | Page </a:t>
            </a:r>
            <a:fld id="{6A6D9FA1-99C7-4910-8E32-B85D378B0060}" type="slidenum">
              <a:rPr lang="en-GB" smtClean="0"/>
              <a:pPr algn="r"/>
              <a:t>‹Nr.›</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1996975160"/>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suel + contenu">
    <p:spTree>
      <p:nvGrpSpPr>
        <p:cNvPr id="1" name=""/>
        <p:cNvGrpSpPr/>
        <p:nvPr/>
      </p:nvGrpSpPr>
      <p:grpSpPr>
        <a:xfrm>
          <a:off x="0" y="0"/>
          <a:ext cx="0" cy="0"/>
          <a:chOff x="0" y="0"/>
          <a:chExt cx="0" cy="0"/>
        </a:xfrm>
      </p:grpSpPr>
      <p:grpSp>
        <p:nvGrpSpPr>
          <p:cNvPr id="20" name="Groupe 19">
            <a:extLst>
              <a:ext uri="{FF2B5EF4-FFF2-40B4-BE49-F238E27FC236}">
                <a16:creationId xmlns:a16="http://schemas.microsoft.com/office/drawing/2014/main" id="{8ADFDDB7-8C7E-D45A-96B3-1A9EBD1B6760}"/>
              </a:ext>
            </a:extLst>
          </p:cNvPr>
          <p:cNvGrpSpPr/>
          <p:nvPr userDrawn="1"/>
        </p:nvGrpSpPr>
        <p:grpSpPr>
          <a:xfrm>
            <a:off x="154780" y="4666413"/>
            <a:ext cx="351000" cy="462210"/>
            <a:chOff x="206373" y="6221884"/>
            <a:chExt cx="468000" cy="616280"/>
          </a:xfrm>
        </p:grpSpPr>
        <p:sp>
          <p:nvSpPr>
            <p:cNvPr id="21" name="Rectangle 20">
              <a:extLst>
                <a:ext uri="{FF2B5EF4-FFF2-40B4-BE49-F238E27FC236}">
                  <a16:creationId xmlns:a16="http://schemas.microsoft.com/office/drawing/2014/main" id="{9EBA0BEC-B644-623E-6D5F-4028774EC28B}"/>
                </a:ext>
              </a:extLst>
            </p:cNvPr>
            <p:cNvSpPr/>
            <p:nvPr userDrawn="1"/>
          </p:nvSpPr>
          <p:spPr>
            <a:xfrm>
              <a:off x="206373" y="6221884"/>
              <a:ext cx="468000" cy="61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algn="ctr"/>
              <a:endParaRPr lang="fr-FR" sz="1350" dirty="0"/>
            </a:p>
          </p:txBody>
        </p:sp>
        <p:pic>
          <p:nvPicPr>
            <p:cNvPr id="22" name="Logo CEA">
              <a:extLst>
                <a:ext uri="{FF2B5EF4-FFF2-40B4-BE49-F238E27FC236}">
                  <a16:creationId xmlns:a16="http://schemas.microsoft.com/office/drawing/2014/main" id="{41781B71-FA7E-3A77-138A-F8EC208614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897" y="6343650"/>
              <a:ext cx="365991" cy="365991"/>
            </a:xfrm>
            <a:prstGeom prst="rect">
              <a:avLst/>
            </a:prstGeom>
          </p:spPr>
        </p:pic>
      </p:grpSp>
      <p:sp>
        <p:nvSpPr>
          <p:cNvPr id="13" name="Espace réservé pour une image  12">
            <a:extLst>
              <a:ext uri="{FF2B5EF4-FFF2-40B4-BE49-F238E27FC236}">
                <a16:creationId xmlns:a16="http://schemas.microsoft.com/office/drawing/2014/main" id="{BE852666-874F-A297-BDD1-598A6DD9D140}"/>
              </a:ext>
            </a:extLst>
          </p:cNvPr>
          <p:cNvSpPr>
            <a:spLocks noGrp="1"/>
          </p:cNvSpPr>
          <p:nvPr>
            <p:ph type="pic" sz="quarter" idx="13" hasCustomPrompt="1"/>
          </p:nvPr>
        </p:nvSpPr>
        <p:spPr>
          <a:xfrm flipH="1">
            <a:off x="0" y="0"/>
            <a:ext cx="3978867" cy="5143500"/>
          </a:xfrm>
          <a:custGeom>
            <a:avLst/>
            <a:gdLst>
              <a:gd name="connsiteX0" fmla="*/ 657398 w 5305156"/>
              <a:gd name="connsiteY0" fmla="*/ 6793932 h 6858000"/>
              <a:gd name="connsiteX1" fmla="*/ 585057 w 5305156"/>
              <a:gd name="connsiteY1" fmla="*/ 6857017 h 6858000"/>
              <a:gd name="connsiteX2" fmla="*/ 583930 w 5305156"/>
              <a:gd name="connsiteY2" fmla="*/ 6858000 h 6858000"/>
              <a:gd name="connsiteX3" fmla="*/ 732294 w 5305156"/>
              <a:gd name="connsiteY3" fmla="*/ 6858000 h 6858000"/>
              <a:gd name="connsiteX4" fmla="*/ 725614 w 5305156"/>
              <a:gd name="connsiteY4" fmla="*/ 6852286 h 6858000"/>
              <a:gd name="connsiteX5" fmla="*/ 657398 w 5305156"/>
              <a:gd name="connsiteY5" fmla="*/ 6793932 h 6858000"/>
              <a:gd name="connsiteX6" fmla="*/ 653184 w 5305156"/>
              <a:gd name="connsiteY6" fmla="*/ 6434348 h 6858000"/>
              <a:gd name="connsiteX7" fmla="*/ 330807 w 5305156"/>
              <a:gd name="connsiteY7" fmla="*/ 6715076 h 6858000"/>
              <a:gd name="connsiteX8" fmla="*/ 330807 w 5305156"/>
              <a:gd name="connsiteY8" fmla="*/ 6799592 h 6858000"/>
              <a:gd name="connsiteX9" fmla="*/ 330807 w 5305156"/>
              <a:gd name="connsiteY9" fmla="*/ 6858000 h 6858000"/>
              <a:gd name="connsiteX10" fmla="*/ 564153 w 5305156"/>
              <a:gd name="connsiteY10" fmla="*/ 6858000 h 6858000"/>
              <a:gd name="connsiteX11" fmla="*/ 568902 w 5305156"/>
              <a:gd name="connsiteY11" fmla="*/ 6853863 h 6858000"/>
              <a:gd name="connsiteX12" fmla="*/ 585057 w 5305156"/>
              <a:gd name="connsiteY12" fmla="*/ 6857017 h 6858000"/>
              <a:gd name="connsiteX13" fmla="*/ 569605 w 5305156"/>
              <a:gd name="connsiteY13" fmla="*/ 6853075 h 6858000"/>
              <a:gd name="connsiteX14" fmla="*/ 653184 w 5305156"/>
              <a:gd name="connsiteY14" fmla="*/ 6780527 h 6858000"/>
              <a:gd name="connsiteX15" fmla="*/ 653184 w 5305156"/>
              <a:gd name="connsiteY15" fmla="*/ 6434348 h 6858000"/>
              <a:gd name="connsiteX16" fmla="*/ 5047259 w 5305156"/>
              <a:gd name="connsiteY16" fmla="*/ 6343650 h 6858000"/>
              <a:gd name="connsiteX17" fmla="*/ 5047259 w 5305156"/>
              <a:gd name="connsiteY17" fmla="*/ 6707250 h 6858000"/>
              <a:gd name="connsiteX18" fmla="*/ 4683659 w 5305156"/>
              <a:gd name="connsiteY18" fmla="*/ 6707250 h 6858000"/>
              <a:gd name="connsiteX19" fmla="*/ 4683659 w 5305156"/>
              <a:gd name="connsiteY19" fmla="*/ 6343650 h 6858000"/>
              <a:gd name="connsiteX20" fmla="*/ 985394 w 5305156"/>
              <a:gd name="connsiteY20" fmla="*/ 5786939 h 6858000"/>
              <a:gd name="connsiteX21" fmla="*/ 777500 w 5305156"/>
              <a:gd name="connsiteY21" fmla="*/ 5968308 h 6858000"/>
              <a:gd name="connsiteX22" fmla="*/ 663017 w 5305156"/>
              <a:gd name="connsiteY22" fmla="*/ 6067667 h 6858000"/>
              <a:gd name="connsiteX23" fmla="*/ 663017 w 5305156"/>
              <a:gd name="connsiteY23" fmla="*/ 6413845 h 6858000"/>
              <a:gd name="connsiteX24" fmla="*/ 901815 w 5305156"/>
              <a:gd name="connsiteY24" fmla="*/ 6206454 h 6858000"/>
              <a:gd name="connsiteX25" fmla="*/ 985394 w 5305156"/>
              <a:gd name="connsiteY25" fmla="*/ 6133906 h 6858000"/>
              <a:gd name="connsiteX26" fmla="*/ 985394 w 5305156"/>
              <a:gd name="connsiteY26" fmla="*/ 5786939 h 6858000"/>
              <a:gd name="connsiteX27" fmla="*/ 1549380 w 5305156"/>
              <a:gd name="connsiteY27" fmla="*/ 5671020 h 6858000"/>
              <a:gd name="connsiteX28" fmla="*/ 1537440 w 5305156"/>
              <a:gd name="connsiteY28" fmla="*/ 5677328 h 6858000"/>
              <a:gd name="connsiteX29" fmla="*/ 1549380 w 5305156"/>
              <a:gd name="connsiteY29" fmla="*/ 5671020 h 6858000"/>
              <a:gd name="connsiteX30" fmla="*/ 1325331 w 5305156"/>
              <a:gd name="connsiteY30" fmla="*/ 5495959 h 6858000"/>
              <a:gd name="connsiteX31" fmla="*/ 1000847 w 5305156"/>
              <a:gd name="connsiteY31" fmla="*/ 5779053 h 6858000"/>
              <a:gd name="connsiteX32" fmla="*/ 1326033 w 5305156"/>
              <a:gd name="connsiteY32" fmla="*/ 6056627 h 6858000"/>
              <a:gd name="connsiteX33" fmla="*/ 1650518 w 5305156"/>
              <a:gd name="connsiteY33" fmla="*/ 5773533 h 6858000"/>
              <a:gd name="connsiteX34" fmla="*/ 1537440 w 5305156"/>
              <a:gd name="connsiteY34" fmla="*/ 5677328 h 6858000"/>
              <a:gd name="connsiteX35" fmla="*/ 1325331 w 5305156"/>
              <a:gd name="connsiteY35" fmla="*/ 5495959 h 6858000"/>
              <a:gd name="connsiteX36" fmla="*/ 320271 w 5305156"/>
              <a:gd name="connsiteY36" fmla="*/ 4847761 h 6858000"/>
              <a:gd name="connsiteX37" fmla="*/ 0 w 5305156"/>
              <a:gd name="connsiteY37" fmla="*/ 5126124 h 6858000"/>
              <a:gd name="connsiteX38" fmla="*/ 325188 w 5305156"/>
              <a:gd name="connsiteY38" fmla="*/ 5403697 h 6858000"/>
              <a:gd name="connsiteX39" fmla="*/ 433349 w 5305156"/>
              <a:gd name="connsiteY39" fmla="*/ 5309070 h 6858000"/>
              <a:gd name="connsiteX40" fmla="*/ 439670 w 5305156"/>
              <a:gd name="connsiteY40" fmla="*/ 5320898 h 6858000"/>
              <a:gd name="connsiteX41" fmla="*/ 330807 w 5305156"/>
              <a:gd name="connsiteY41" fmla="*/ 5415526 h 6858000"/>
              <a:gd name="connsiteX42" fmla="*/ 330807 w 5305156"/>
              <a:gd name="connsiteY42" fmla="*/ 5761705 h 6858000"/>
              <a:gd name="connsiteX43" fmla="*/ 563986 w 5305156"/>
              <a:gd name="connsiteY43" fmla="*/ 5559044 h 6858000"/>
              <a:gd name="connsiteX44" fmla="*/ 570307 w 5305156"/>
              <a:gd name="connsiteY44" fmla="*/ 5571661 h 6858000"/>
              <a:gd name="connsiteX45" fmla="*/ 332211 w 5305156"/>
              <a:gd name="connsiteY45" fmla="*/ 5779053 h 6858000"/>
              <a:gd name="connsiteX46" fmla="*/ 657398 w 5305156"/>
              <a:gd name="connsiteY46" fmla="*/ 6056627 h 6858000"/>
              <a:gd name="connsiteX47" fmla="*/ 771178 w 5305156"/>
              <a:gd name="connsiteY47" fmla="*/ 5957268 h 6858000"/>
              <a:gd name="connsiteX48" fmla="*/ 777500 w 5305156"/>
              <a:gd name="connsiteY48" fmla="*/ 5968308 h 6858000"/>
              <a:gd name="connsiteX49" fmla="*/ 771881 w 5305156"/>
              <a:gd name="connsiteY49" fmla="*/ 5956479 h 6858000"/>
              <a:gd name="connsiteX50" fmla="*/ 981883 w 5305156"/>
              <a:gd name="connsiteY50" fmla="*/ 5773533 h 6858000"/>
              <a:gd name="connsiteX51" fmla="*/ 656696 w 5305156"/>
              <a:gd name="connsiteY51" fmla="*/ 5495959 h 6858000"/>
              <a:gd name="connsiteX52" fmla="*/ 571010 w 5305156"/>
              <a:gd name="connsiteY52" fmla="*/ 5570873 h 6858000"/>
              <a:gd name="connsiteX53" fmla="*/ 563986 w 5305156"/>
              <a:gd name="connsiteY53" fmla="*/ 5558256 h 6858000"/>
              <a:gd name="connsiteX54" fmla="*/ 653184 w 5305156"/>
              <a:gd name="connsiteY54" fmla="*/ 5480976 h 6858000"/>
              <a:gd name="connsiteX55" fmla="*/ 653184 w 5305156"/>
              <a:gd name="connsiteY55" fmla="*/ 5134798 h 6858000"/>
              <a:gd name="connsiteX56" fmla="*/ 439670 w 5305156"/>
              <a:gd name="connsiteY56" fmla="*/ 5320110 h 6858000"/>
              <a:gd name="connsiteX57" fmla="*/ 434052 w 5305156"/>
              <a:gd name="connsiteY57" fmla="*/ 5309070 h 6858000"/>
              <a:gd name="connsiteX58" fmla="*/ 645458 w 5305156"/>
              <a:gd name="connsiteY58" fmla="*/ 5125335 h 6858000"/>
              <a:gd name="connsiteX59" fmla="*/ 320271 w 5305156"/>
              <a:gd name="connsiteY59" fmla="*/ 4847761 h 6858000"/>
              <a:gd name="connsiteX60" fmla="*/ 985394 w 5305156"/>
              <a:gd name="connsiteY60" fmla="*/ 4487388 h 6858000"/>
              <a:gd name="connsiteX61" fmla="*/ 763453 w 5305156"/>
              <a:gd name="connsiteY61" fmla="*/ 4680586 h 6858000"/>
              <a:gd name="connsiteX62" fmla="*/ 756430 w 5305156"/>
              <a:gd name="connsiteY62" fmla="*/ 4670335 h 6858000"/>
              <a:gd name="connsiteX63" fmla="*/ 762750 w 5305156"/>
              <a:gd name="connsiteY63" fmla="*/ 4680586 h 6858000"/>
              <a:gd name="connsiteX64" fmla="*/ 663017 w 5305156"/>
              <a:gd name="connsiteY64" fmla="*/ 4768116 h 6858000"/>
              <a:gd name="connsiteX65" fmla="*/ 663017 w 5305156"/>
              <a:gd name="connsiteY65" fmla="*/ 5114295 h 6858000"/>
              <a:gd name="connsiteX66" fmla="*/ 906029 w 5305156"/>
              <a:gd name="connsiteY66" fmla="*/ 4902960 h 6858000"/>
              <a:gd name="connsiteX67" fmla="*/ 913053 w 5305156"/>
              <a:gd name="connsiteY67" fmla="*/ 4913212 h 6858000"/>
              <a:gd name="connsiteX68" fmla="*/ 906732 w 5305156"/>
              <a:gd name="connsiteY68" fmla="*/ 4902172 h 6858000"/>
              <a:gd name="connsiteX69" fmla="*/ 985394 w 5305156"/>
              <a:gd name="connsiteY69" fmla="*/ 4833567 h 6858000"/>
              <a:gd name="connsiteX70" fmla="*/ 985394 w 5305156"/>
              <a:gd name="connsiteY70" fmla="*/ 4487388 h 6858000"/>
              <a:gd name="connsiteX71" fmla="*/ 656696 w 5305156"/>
              <a:gd name="connsiteY71" fmla="*/ 4196409 h 6858000"/>
              <a:gd name="connsiteX72" fmla="*/ 332211 w 5305156"/>
              <a:gd name="connsiteY72" fmla="*/ 4478714 h 6858000"/>
              <a:gd name="connsiteX73" fmla="*/ 657398 w 5305156"/>
              <a:gd name="connsiteY73" fmla="*/ 4756288 h 6858000"/>
              <a:gd name="connsiteX74" fmla="*/ 756430 w 5305156"/>
              <a:gd name="connsiteY74" fmla="*/ 4670335 h 6858000"/>
              <a:gd name="connsiteX75" fmla="*/ 981883 w 5305156"/>
              <a:gd name="connsiteY75" fmla="*/ 4473983 h 6858000"/>
              <a:gd name="connsiteX76" fmla="*/ 656696 w 5305156"/>
              <a:gd name="connsiteY76" fmla="*/ 4196409 h 6858000"/>
              <a:gd name="connsiteX77" fmla="*/ 993120 w 5305156"/>
              <a:gd name="connsiteY77" fmla="*/ 3544268 h 6858000"/>
              <a:gd name="connsiteX78" fmla="*/ 668636 w 5305156"/>
              <a:gd name="connsiteY78" fmla="*/ 3826573 h 6858000"/>
              <a:gd name="connsiteX79" fmla="*/ 993823 w 5305156"/>
              <a:gd name="connsiteY79" fmla="*/ 4104935 h 6858000"/>
              <a:gd name="connsiteX80" fmla="*/ 1318308 w 5305156"/>
              <a:gd name="connsiteY80" fmla="*/ 3821842 h 6858000"/>
              <a:gd name="connsiteX81" fmla="*/ 1002251 w 5305156"/>
              <a:gd name="connsiteY81" fmla="*/ 3552154 h 6858000"/>
              <a:gd name="connsiteX82" fmla="*/ 993120 w 5305156"/>
              <a:gd name="connsiteY82" fmla="*/ 3544268 h 6858000"/>
              <a:gd name="connsiteX83" fmla="*/ 1318308 w 5305156"/>
              <a:gd name="connsiteY83" fmla="*/ 2538851 h 6858000"/>
              <a:gd name="connsiteX84" fmla="*/ 1110412 w 5305156"/>
              <a:gd name="connsiteY84" fmla="*/ 2719432 h 6858000"/>
              <a:gd name="connsiteX85" fmla="*/ 1104092 w 5305156"/>
              <a:gd name="connsiteY85" fmla="*/ 2708392 h 6858000"/>
              <a:gd name="connsiteX86" fmla="*/ 1109710 w 5305156"/>
              <a:gd name="connsiteY86" fmla="*/ 2720221 h 6858000"/>
              <a:gd name="connsiteX87" fmla="*/ 995930 w 5305156"/>
              <a:gd name="connsiteY87" fmla="*/ 2819579 h 6858000"/>
              <a:gd name="connsiteX88" fmla="*/ 995930 w 5305156"/>
              <a:gd name="connsiteY88" fmla="*/ 3165758 h 6858000"/>
              <a:gd name="connsiteX89" fmla="*/ 1234025 w 5305156"/>
              <a:gd name="connsiteY89" fmla="*/ 2958366 h 6858000"/>
              <a:gd name="connsiteX90" fmla="*/ 1240347 w 5305156"/>
              <a:gd name="connsiteY90" fmla="*/ 2969406 h 6858000"/>
              <a:gd name="connsiteX91" fmla="*/ 1234728 w 5305156"/>
              <a:gd name="connsiteY91" fmla="*/ 2957578 h 6858000"/>
              <a:gd name="connsiteX92" fmla="*/ 1318308 w 5305156"/>
              <a:gd name="connsiteY92" fmla="*/ 2885030 h 6858000"/>
              <a:gd name="connsiteX93" fmla="*/ 1318308 w 5305156"/>
              <a:gd name="connsiteY93" fmla="*/ 2538851 h 6858000"/>
              <a:gd name="connsiteX94" fmla="*/ 652482 w 5305156"/>
              <a:gd name="connsiteY94" fmla="*/ 1598885 h 6858000"/>
              <a:gd name="connsiteX95" fmla="*/ 332211 w 5305156"/>
              <a:gd name="connsiteY95" fmla="*/ 1878036 h 6858000"/>
              <a:gd name="connsiteX96" fmla="*/ 657398 w 5305156"/>
              <a:gd name="connsiteY96" fmla="*/ 2155610 h 6858000"/>
              <a:gd name="connsiteX97" fmla="*/ 766262 w 5305156"/>
              <a:gd name="connsiteY97" fmla="*/ 2060983 h 6858000"/>
              <a:gd name="connsiteX98" fmla="*/ 771881 w 5305156"/>
              <a:gd name="connsiteY98" fmla="*/ 2072022 h 6858000"/>
              <a:gd name="connsiteX99" fmla="*/ 663017 w 5305156"/>
              <a:gd name="connsiteY99" fmla="*/ 2166650 h 6858000"/>
              <a:gd name="connsiteX100" fmla="*/ 663017 w 5305156"/>
              <a:gd name="connsiteY100" fmla="*/ 2513617 h 6858000"/>
              <a:gd name="connsiteX101" fmla="*/ 896196 w 5305156"/>
              <a:gd name="connsiteY101" fmla="*/ 2310168 h 6858000"/>
              <a:gd name="connsiteX102" fmla="*/ 902517 w 5305156"/>
              <a:gd name="connsiteY102" fmla="*/ 2322785 h 6858000"/>
              <a:gd name="connsiteX103" fmla="*/ 665124 w 5305156"/>
              <a:gd name="connsiteY103" fmla="*/ 2530177 h 6858000"/>
              <a:gd name="connsiteX104" fmla="*/ 990311 w 5305156"/>
              <a:gd name="connsiteY104" fmla="*/ 2807751 h 6858000"/>
              <a:gd name="connsiteX105" fmla="*/ 1104092 w 5305156"/>
              <a:gd name="connsiteY105" fmla="*/ 2708392 h 6858000"/>
              <a:gd name="connsiteX106" fmla="*/ 1314093 w 5305156"/>
              <a:gd name="connsiteY106" fmla="*/ 2525446 h 6858000"/>
              <a:gd name="connsiteX107" fmla="*/ 988907 w 5305156"/>
              <a:gd name="connsiteY107" fmla="*/ 2247872 h 6858000"/>
              <a:gd name="connsiteX108" fmla="*/ 903220 w 5305156"/>
              <a:gd name="connsiteY108" fmla="*/ 2322785 h 6858000"/>
              <a:gd name="connsiteX109" fmla="*/ 896899 w 5305156"/>
              <a:gd name="connsiteY109" fmla="*/ 2310168 h 6858000"/>
              <a:gd name="connsiteX110" fmla="*/ 985394 w 5305156"/>
              <a:gd name="connsiteY110" fmla="*/ 2232889 h 6858000"/>
              <a:gd name="connsiteX111" fmla="*/ 985394 w 5305156"/>
              <a:gd name="connsiteY111" fmla="*/ 1885922 h 6858000"/>
              <a:gd name="connsiteX112" fmla="*/ 772583 w 5305156"/>
              <a:gd name="connsiteY112" fmla="*/ 2072022 h 6858000"/>
              <a:gd name="connsiteX113" fmla="*/ 766262 w 5305156"/>
              <a:gd name="connsiteY113" fmla="*/ 2060194 h 6858000"/>
              <a:gd name="connsiteX114" fmla="*/ 977669 w 5305156"/>
              <a:gd name="connsiteY114" fmla="*/ 1876459 h 6858000"/>
              <a:gd name="connsiteX115" fmla="*/ 652482 w 5305156"/>
              <a:gd name="connsiteY115" fmla="*/ 1598885 h 6858000"/>
              <a:gd name="connsiteX116" fmla="*/ 1318308 w 5305156"/>
              <a:gd name="connsiteY116" fmla="*/ 1238512 h 6858000"/>
              <a:gd name="connsiteX117" fmla="*/ 1095663 w 5305156"/>
              <a:gd name="connsiteY117" fmla="*/ 1432499 h 6858000"/>
              <a:gd name="connsiteX118" fmla="*/ 995930 w 5305156"/>
              <a:gd name="connsiteY118" fmla="*/ 1519240 h 6858000"/>
              <a:gd name="connsiteX119" fmla="*/ 995930 w 5305156"/>
              <a:gd name="connsiteY119" fmla="*/ 1865419 h 6858000"/>
              <a:gd name="connsiteX120" fmla="*/ 1238240 w 5305156"/>
              <a:gd name="connsiteY120" fmla="*/ 1654085 h 6858000"/>
              <a:gd name="connsiteX121" fmla="*/ 1245264 w 5305156"/>
              <a:gd name="connsiteY121" fmla="*/ 1665124 h 6858000"/>
              <a:gd name="connsiteX122" fmla="*/ 1000847 w 5305156"/>
              <a:gd name="connsiteY122" fmla="*/ 1878036 h 6858000"/>
              <a:gd name="connsiteX123" fmla="*/ 1326033 w 5305156"/>
              <a:gd name="connsiteY123" fmla="*/ 2155610 h 6858000"/>
              <a:gd name="connsiteX124" fmla="*/ 1477038 w 5305156"/>
              <a:gd name="connsiteY124" fmla="*/ 2023920 h 6858000"/>
              <a:gd name="connsiteX125" fmla="*/ 1646304 w 5305156"/>
              <a:gd name="connsiteY125" fmla="*/ 1876459 h 6858000"/>
              <a:gd name="connsiteX126" fmla="*/ 1321116 w 5305156"/>
              <a:gd name="connsiteY126" fmla="*/ 1598885 h 6858000"/>
              <a:gd name="connsiteX127" fmla="*/ 1245965 w 5305156"/>
              <a:gd name="connsiteY127" fmla="*/ 1664336 h 6858000"/>
              <a:gd name="connsiteX128" fmla="*/ 1238942 w 5305156"/>
              <a:gd name="connsiteY128" fmla="*/ 1654085 h 6858000"/>
              <a:gd name="connsiteX129" fmla="*/ 1318308 w 5305156"/>
              <a:gd name="connsiteY129" fmla="*/ 1585480 h 6858000"/>
              <a:gd name="connsiteX130" fmla="*/ 1318308 w 5305156"/>
              <a:gd name="connsiteY130" fmla="*/ 1238512 h 6858000"/>
              <a:gd name="connsiteX131" fmla="*/ 988907 w 5305156"/>
              <a:gd name="connsiteY131" fmla="*/ 947533 h 6858000"/>
              <a:gd name="connsiteX132" fmla="*/ 665124 w 5305156"/>
              <a:gd name="connsiteY132" fmla="*/ 1230627 h 6858000"/>
              <a:gd name="connsiteX133" fmla="*/ 990311 w 5305156"/>
              <a:gd name="connsiteY133" fmla="*/ 1508201 h 6858000"/>
              <a:gd name="connsiteX134" fmla="*/ 1088639 w 5305156"/>
              <a:gd name="connsiteY134" fmla="*/ 1422247 h 6858000"/>
              <a:gd name="connsiteX135" fmla="*/ 1095663 w 5305156"/>
              <a:gd name="connsiteY135" fmla="*/ 1432499 h 6858000"/>
              <a:gd name="connsiteX136" fmla="*/ 1089342 w 5305156"/>
              <a:gd name="connsiteY136" fmla="*/ 1421459 h 6858000"/>
              <a:gd name="connsiteX137" fmla="*/ 1314093 w 5305156"/>
              <a:gd name="connsiteY137" fmla="*/ 1225107 h 6858000"/>
              <a:gd name="connsiteX138" fmla="*/ 988907 w 5305156"/>
              <a:gd name="connsiteY138" fmla="*/ 947533 h 6858000"/>
              <a:gd name="connsiteX139" fmla="*/ 1325331 w 5305156"/>
              <a:gd name="connsiteY139" fmla="*/ 296181 h 6858000"/>
              <a:gd name="connsiteX140" fmla="*/ 1000847 w 5305156"/>
              <a:gd name="connsiteY140" fmla="*/ 578486 h 6858000"/>
              <a:gd name="connsiteX141" fmla="*/ 1326033 w 5305156"/>
              <a:gd name="connsiteY141" fmla="*/ 856060 h 6858000"/>
              <a:gd name="connsiteX142" fmla="*/ 1650518 w 5305156"/>
              <a:gd name="connsiteY142" fmla="*/ 573754 h 6858000"/>
              <a:gd name="connsiteX143" fmla="*/ 1334462 w 5305156"/>
              <a:gd name="connsiteY143" fmla="*/ 304066 h 6858000"/>
              <a:gd name="connsiteX144" fmla="*/ 1325331 w 5305156"/>
              <a:gd name="connsiteY144" fmla="*/ 296181 h 6858000"/>
              <a:gd name="connsiteX145" fmla="*/ 1226725 w 5305156"/>
              <a:gd name="connsiteY145" fmla="*/ 0 h 6858000"/>
              <a:gd name="connsiteX146" fmla="*/ 748180 w 5305156"/>
              <a:gd name="connsiteY146" fmla="*/ 0 h 6858000"/>
              <a:gd name="connsiteX147" fmla="*/ 763540 w 5305156"/>
              <a:gd name="connsiteY147" fmla="*/ 13087 h 6858000"/>
              <a:gd name="connsiteX148" fmla="*/ 990311 w 5305156"/>
              <a:gd name="connsiteY148" fmla="*/ 206284 h 6858000"/>
              <a:gd name="connsiteX149" fmla="*/ 1159227 w 5305156"/>
              <a:gd name="connsiteY149" fmla="*/ 58896 h 6858000"/>
              <a:gd name="connsiteX150" fmla="*/ 1318308 w 5305156"/>
              <a:gd name="connsiteY150" fmla="*/ 0 h 6858000"/>
              <a:gd name="connsiteX151" fmla="*/ 1245701 w 5305156"/>
              <a:gd name="connsiteY151" fmla="*/ 0 h 6858000"/>
              <a:gd name="connsiteX152" fmla="*/ 1228232 w 5305156"/>
              <a:gd name="connsiteY152" fmla="*/ 15255 h 6858000"/>
              <a:gd name="connsiteX153" fmla="*/ 995930 w 5305156"/>
              <a:gd name="connsiteY153" fmla="*/ 218113 h 6858000"/>
              <a:gd name="connsiteX154" fmla="*/ 995930 w 5305156"/>
              <a:gd name="connsiteY154" fmla="*/ 564292 h 6858000"/>
              <a:gd name="connsiteX155" fmla="*/ 1318308 w 5305156"/>
              <a:gd name="connsiteY155" fmla="*/ 283564 h 6858000"/>
              <a:gd name="connsiteX156" fmla="*/ 1318308 w 5305156"/>
              <a:gd name="connsiteY156" fmla="*/ 84404 h 6858000"/>
              <a:gd name="connsiteX157" fmla="*/ 5305156 w 5305156"/>
              <a:gd name="connsiteY157" fmla="*/ 0 h 6858000"/>
              <a:gd name="connsiteX158" fmla="*/ 1329545 w 5305156"/>
              <a:gd name="connsiteY158" fmla="*/ 0 h 6858000"/>
              <a:gd name="connsiteX159" fmla="*/ 1329545 w 5305156"/>
              <a:gd name="connsiteY159" fmla="*/ 1953 h 6858000"/>
              <a:gd name="connsiteX160" fmla="*/ 1329545 w 5305156"/>
              <a:gd name="connsiteY160" fmla="*/ 283564 h 6858000"/>
              <a:gd name="connsiteX161" fmla="*/ 1343592 w 5305156"/>
              <a:gd name="connsiteY161" fmla="*/ 295392 h 6858000"/>
              <a:gd name="connsiteX162" fmla="*/ 1334462 w 5305156"/>
              <a:gd name="connsiteY162" fmla="*/ 304066 h 6858000"/>
              <a:gd name="connsiteX163" fmla="*/ 1344294 w 5305156"/>
              <a:gd name="connsiteY163" fmla="*/ 295392 h 6858000"/>
              <a:gd name="connsiteX164" fmla="*/ 1665970 w 5305156"/>
              <a:gd name="connsiteY164" fmla="*/ 570600 h 6858000"/>
              <a:gd name="connsiteX165" fmla="*/ 1665970 w 5305156"/>
              <a:gd name="connsiteY165" fmla="*/ 589526 h 6858000"/>
              <a:gd name="connsiteX166" fmla="*/ 1654030 w 5305156"/>
              <a:gd name="connsiteY166" fmla="*/ 599777 h 6858000"/>
              <a:gd name="connsiteX167" fmla="*/ 1654030 w 5305156"/>
              <a:gd name="connsiteY167" fmla="*/ 587160 h 6858000"/>
              <a:gd name="connsiteX168" fmla="*/ 1332355 w 5305156"/>
              <a:gd name="connsiteY168" fmla="*/ 867888 h 6858000"/>
              <a:gd name="connsiteX169" fmla="*/ 1332355 w 5305156"/>
              <a:gd name="connsiteY169" fmla="*/ 1214067 h 6858000"/>
              <a:gd name="connsiteX170" fmla="*/ 1654030 w 5305156"/>
              <a:gd name="connsiteY170" fmla="*/ 933339 h 6858000"/>
              <a:gd name="connsiteX171" fmla="*/ 1654030 w 5305156"/>
              <a:gd name="connsiteY171" fmla="*/ 600566 h 6858000"/>
              <a:gd name="connsiteX172" fmla="*/ 1665970 w 5305156"/>
              <a:gd name="connsiteY172" fmla="*/ 590314 h 6858000"/>
              <a:gd name="connsiteX173" fmla="*/ 1665970 w 5305156"/>
              <a:gd name="connsiteY173" fmla="*/ 938859 h 6858000"/>
              <a:gd name="connsiteX174" fmla="*/ 1998180 w 5305156"/>
              <a:gd name="connsiteY174" fmla="*/ 1221952 h 6858000"/>
              <a:gd name="connsiteX175" fmla="*/ 1998180 w 5305156"/>
              <a:gd name="connsiteY175" fmla="*/ 1591788 h 6858000"/>
              <a:gd name="connsiteX176" fmla="*/ 1680718 w 5305156"/>
              <a:gd name="connsiteY176" fmla="*/ 1867785 h 6858000"/>
              <a:gd name="connsiteX177" fmla="*/ 1680718 w 5305156"/>
              <a:gd name="connsiteY177" fmla="*/ 1851225 h 6858000"/>
              <a:gd name="connsiteX178" fmla="*/ 1986942 w 5305156"/>
              <a:gd name="connsiteY178" fmla="*/ 1585480 h 6858000"/>
              <a:gd name="connsiteX179" fmla="*/ 1986942 w 5305156"/>
              <a:gd name="connsiteY179" fmla="*/ 1238512 h 6858000"/>
              <a:gd name="connsiteX180" fmla="*/ 1680718 w 5305156"/>
              <a:gd name="connsiteY180" fmla="*/ 1505046 h 6858000"/>
              <a:gd name="connsiteX181" fmla="*/ 1680718 w 5305156"/>
              <a:gd name="connsiteY181" fmla="*/ 1488487 h 6858000"/>
              <a:gd name="connsiteX182" fmla="*/ 1982728 w 5305156"/>
              <a:gd name="connsiteY182" fmla="*/ 1225107 h 6858000"/>
              <a:gd name="connsiteX183" fmla="*/ 1657541 w 5305156"/>
              <a:gd name="connsiteY183" fmla="*/ 947533 h 6858000"/>
              <a:gd name="connsiteX184" fmla="*/ 1333056 w 5305156"/>
              <a:gd name="connsiteY184" fmla="*/ 1230627 h 6858000"/>
              <a:gd name="connsiteX185" fmla="*/ 1658244 w 5305156"/>
              <a:gd name="connsiteY185" fmla="*/ 1508201 h 6858000"/>
              <a:gd name="connsiteX186" fmla="*/ 1680017 w 5305156"/>
              <a:gd name="connsiteY186" fmla="*/ 1489275 h 6858000"/>
              <a:gd name="connsiteX187" fmla="*/ 1680017 w 5305156"/>
              <a:gd name="connsiteY187" fmla="*/ 1505835 h 6858000"/>
              <a:gd name="connsiteX188" fmla="*/ 1664565 w 5305156"/>
              <a:gd name="connsiteY188" fmla="*/ 1519240 h 6858000"/>
              <a:gd name="connsiteX189" fmla="*/ 1664565 w 5305156"/>
              <a:gd name="connsiteY189" fmla="*/ 1865419 h 6858000"/>
              <a:gd name="connsiteX190" fmla="*/ 1680017 w 5305156"/>
              <a:gd name="connsiteY190" fmla="*/ 1852014 h 6858000"/>
              <a:gd name="connsiteX191" fmla="*/ 1680017 w 5305156"/>
              <a:gd name="connsiteY191" fmla="*/ 1868573 h 6858000"/>
              <a:gd name="connsiteX192" fmla="*/ 1665970 w 5305156"/>
              <a:gd name="connsiteY192" fmla="*/ 1881190 h 6858000"/>
              <a:gd name="connsiteX193" fmla="*/ 1665970 w 5305156"/>
              <a:gd name="connsiteY193" fmla="*/ 2058617 h 6858000"/>
              <a:gd name="connsiteX194" fmla="*/ 1654030 w 5305156"/>
              <a:gd name="connsiteY194" fmla="*/ 2060194 h 6858000"/>
              <a:gd name="connsiteX195" fmla="*/ 1654030 w 5305156"/>
              <a:gd name="connsiteY195" fmla="*/ 1885922 h 6858000"/>
              <a:gd name="connsiteX196" fmla="*/ 1484061 w 5305156"/>
              <a:gd name="connsiteY196" fmla="*/ 2034172 h 6858000"/>
              <a:gd name="connsiteX197" fmla="*/ 1477038 w 5305156"/>
              <a:gd name="connsiteY197" fmla="*/ 2023920 h 6858000"/>
              <a:gd name="connsiteX198" fmla="*/ 1484061 w 5305156"/>
              <a:gd name="connsiteY198" fmla="*/ 2034960 h 6858000"/>
              <a:gd name="connsiteX199" fmla="*/ 1332355 w 5305156"/>
              <a:gd name="connsiteY199" fmla="*/ 2166650 h 6858000"/>
              <a:gd name="connsiteX200" fmla="*/ 1332355 w 5305156"/>
              <a:gd name="connsiteY200" fmla="*/ 2513617 h 6858000"/>
              <a:gd name="connsiteX201" fmla="*/ 1654030 w 5305156"/>
              <a:gd name="connsiteY201" fmla="*/ 2232889 h 6858000"/>
              <a:gd name="connsiteX202" fmla="*/ 1654030 w 5305156"/>
              <a:gd name="connsiteY202" fmla="*/ 2060983 h 6858000"/>
              <a:gd name="connsiteX203" fmla="*/ 1665970 w 5305156"/>
              <a:gd name="connsiteY203" fmla="*/ 2059405 h 6858000"/>
              <a:gd name="connsiteX204" fmla="*/ 1665970 w 5305156"/>
              <a:gd name="connsiteY204" fmla="*/ 2238409 h 6858000"/>
              <a:gd name="connsiteX205" fmla="*/ 1881590 w 5305156"/>
              <a:gd name="connsiteY205" fmla="*/ 2422144 h 6858000"/>
              <a:gd name="connsiteX206" fmla="*/ 1869650 w 5305156"/>
              <a:gd name="connsiteY206" fmla="*/ 2428452 h 6858000"/>
              <a:gd name="connsiteX207" fmla="*/ 1657541 w 5305156"/>
              <a:gd name="connsiteY207" fmla="*/ 2247872 h 6858000"/>
              <a:gd name="connsiteX208" fmla="*/ 1333056 w 5305156"/>
              <a:gd name="connsiteY208" fmla="*/ 2530177 h 6858000"/>
              <a:gd name="connsiteX209" fmla="*/ 1658244 w 5305156"/>
              <a:gd name="connsiteY209" fmla="*/ 2807751 h 6858000"/>
              <a:gd name="connsiteX210" fmla="*/ 1982728 w 5305156"/>
              <a:gd name="connsiteY210" fmla="*/ 2525446 h 6858000"/>
              <a:gd name="connsiteX211" fmla="*/ 1870353 w 5305156"/>
              <a:gd name="connsiteY211" fmla="*/ 2429241 h 6858000"/>
              <a:gd name="connsiteX212" fmla="*/ 1882293 w 5305156"/>
              <a:gd name="connsiteY212" fmla="*/ 2422933 h 6858000"/>
              <a:gd name="connsiteX213" fmla="*/ 1998180 w 5305156"/>
              <a:gd name="connsiteY213" fmla="*/ 2522291 h 6858000"/>
              <a:gd name="connsiteX214" fmla="*/ 1998180 w 5305156"/>
              <a:gd name="connsiteY214" fmla="*/ 2773054 h 6858000"/>
              <a:gd name="connsiteX215" fmla="*/ 1986942 w 5305156"/>
              <a:gd name="connsiteY215" fmla="*/ 2778574 h 6858000"/>
              <a:gd name="connsiteX216" fmla="*/ 1986942 w 5305156"/>
              <a:gd name="connsiteY216" fmla="*/ 2538851 h 6858000"/>
              <a:gd name="connsiteX217" fmla="*/ 1664565 w 5305156"/>
              <a:gd name="connsiteY217" fmla="*/ 2819579 h 6858000"/>
              <a:gd name="connsiteX218" fmla="*/ 1664565 w 5305156"/>
              <a:gd name="connsiteY218" fmla="*/ 3165758 h 6858000"/>
              <a:gd name="connsiteX219" fmla="*/ 1986942 w 5305156"/>
              <a:gd name="connsiteY219" fmla="*/ 2885030 h 6858000"/>
              <a:gd name="connsiteX220" fmla="*/ 1986942 w 5305156"/>
              <a:gd name="connsiteY220" fmla="*/ 2779363 h 6858000"/>
              <a:gd name="connsiteX221" fmla="*/ 1998180 w 5305156"/>
              <a:gd name="connsiteY221" fmla="*/ 2773843 h 6858000"/>
              <a:gd name="connsiteX222" fmla="*/ 1998180 w 5305156"/>
              <a:gd name="connsiteY222" fmla="*/ 2891339 h 6858000"/>
              <a:gd name="connsiteX223" fmla="*/ 1658946 w 5305156"/>
              <a:gd name="connsiteY223" fmla="*/ 3187049 h 6858000"/>
              <a:gd name="connsiteX224" fmla="*/ 1321116 w 5305156"/>
              <a:gd name="connsiteY224" fmla="*/ 2899224 h 6858000"/>
              <a:gd name="connsiteX225" fmla="*/ 1240347 w 5305156"/>
              <a:gd name="connsiteY225" fmla="*/ 2969406 h 6858000"/>
              <a:gd name="connsiteX226" fmla="*/ 997334 w 5305156"/>
              <a:gd name="connsiteY226" fmla="*/ 3180741 h 6858000"/>
              <a:gd name="connsiteX227" fmla="*/ 997334 w 5305156"/>
              <a:gd name="connsiteY227" fmla="*/ 3519034 h 6858000"/>
              <a:gd name="connsiteX228" fmla="*/ 985394 w 5305156"/>
              <a:gd name="connsiteY228" fmla="*/ 3519034 h 6858000"/>
              <a:gd name="connsiteX229" fmla="*/ 985394 w 5305156"/>
              <a:gd name="connsiteY229" fmla="*/ 3500109 h 6858000"/>
              <a:gd name="connsiteX230" fmla="*/ 985394 w 5305156"/>
              <a:gd name="connsiteY230" fmla="*/ 3186261 h 6858000"/>
              <a:gd name="connsiteX231" fmla="*/ 663017 w 5305156"/>
              <a:gd name="connsiteY231" fmla="*/ 3466989 h 6858000"/>
              <a:gd name="connsiteX232" fmla="*/ 663017 w 5305156"/>
              <a:gd name="connsiteY232" fmla="*/ 3495377 h 6858000"/>
              <a:gd name="connsiteX233" fmla="*/ 663017 w 5305156"/>
              <a:gd name="connsiteY233" fmla="*/ 3812379 h 6858000"/>
              <a:gd name="connsiteX234" fmla="*/ 985394 w 5305156"/>
              <a:gd name="connsiteY234" fmla="*/ 3532439 h 6858000"/>
              <a:gd name="connsiteX235" fmla="*/ 985394 w 5305156"/>
              <a:gd name="connsiteY235" fmla="*/ 3519822 h 6858000"/>
              <a:gd name="connsiteX236" fmla="*/ 997334 w 5305156"/>
              <a:gd name="connsiteY236" fmla="*/ 3519822 h 6858000"/>
              <a:gd name="connsiteX237" fmla="*/ 997334 w 5305156"/>
              <a:gd name="connsiteY237" fmla="*/ 3531651 h 6858000"/>
              <a:gd name="connsiteX238" fmla="*/ 1011381 w 5305156"/>
              <a:gd name="connsiteY238" fmla="*/ 3543479 h 6858000"/>
              <a:gd name="connsiteX239" fmla="*/ 1002251 w 5305156"/>
              <a:gd name="connsiteY239" fmla="*/ 3552154 h 6858000"/>
              <a:gd name="connsiteX240" fmla="*/ 1012084 w 5305156"/>
              <a:gd name="connsiteY240" fmla="*/ 3544268 h 6858000"/>
              <a:gd name="connsiteX241" fmla="*/ 1333759 w 5305156"/>
              <a:gd name="connsiteY241" fmla="*/ 3818688 h 6858000"/>
              <a:gd name="connsiteX242" fmla="*/ 1333759 w 5305156"/>
              <a:gd name="connsiteY242" fmla="*/ 3838402 h 6858000"/>
              <a:gd name="connsiteX243" fmla="*/ 1321819 w 5305156"/>
              <a:gd name="connsiteY243" fmla="*/ 3848653 h 6858000"/>
              <a:gd name="connsiteX244" fmla="*/ 1321819 w 5305156"/>
              <a:gd name="connsiteY244" fmla="*/ 3835248 h 6858000"/>
              <a:gd name="connsiteX245" fmla="*/ 999441 w 5305156"/>
              <a:gd name="connsiteY245" fmla="*/ 4115975 h 6858000"/>
              <a:gd name="connsiteX246" fmla="*/ 999441 w 5305156"/>
              <a:gd name="connsiteY246" fmla="*/ 4462154 h 6858000"/>
              <a:gd name="connsiteX247" fmla="*/ 1321819 w 5305156"/>
              <a:gd name="connsiteY247" fmla="*/ 4182215 h 6858000"/>
              <a:gd name="connsiteX248" fmla="*/ 1321819 w 5305156"/>
              <a:gd name="connsiteY248" fmla="*/ 3849441 h 6858000"/>
              <a:gd name="connsiteX249" fmla="*/ 1333759 w 5305156"/>
              <a:gd name="connsiteY249" fmla="*/ 3839190 h 6858000"/>
              <a:gd name="connsiteX250" fmla="*/ 1333759 w 5305156"/>
              <a:gd name="connsiteY250" fmla="*/ 4186946 h 6858000"/>
              <a:gd name="connsiteX251" fmla="*/ 1665970 w 5305156"/>
              <a:gd name="connsiteY251" fmla="*/ 4470828 h 6858000"/>
              <a:gd name="connsiteX252" fmla="*/ 1665970 w 5305156"/>
              <a:gd name="connsiteY252" fmla="*/ 4839875 h 6858000"/>
              <a:gd name="connsiteX253" fmla="*/ 1348509 w 5305156"/>
              <a:gd name="connsiteY253" fmla="*/ 5116661 h 6858000"/>
              <a:gd name="connsiteX254" fmla="*/ 1348509 w 5305156"/>
              <a:gd name="connsiteY254" fmla="*/ 5100101 h 6858000"/>
              <a:gd name="connsiteX255" fmla="*/ 1654030 w 5305156"/>
              <a:gd name="connsiteY255" fmla="*/ 4833567 h 6858000"/>
              <a:gd name="connsiteX256" fmla="*/ 1654030 w 5305156"/>
              <a:gd name="connsiteY256" fmla="*/ 4487388 h 6858000"/>
              <a:gd name="connsiteX257" fmla="*/ 1348509 w 5305156"/>
              <a:gd name="connsiteY257" fmla="*/ 4753134 h 6858000"/>
              <a:gd name="connsiteX258" fmla="*/ 1348509 w 5305156"/>
              <a:gd name="connsiteY258" fmla="*/ 4737362 h 6858000"/>
              <a:gd name="connsiteX259" fmla="*/ 1650518 w 5305156"/>
              <a:gd name="connsiteY259" fmla="*/ 4473983 h 6858000"/>
              <a:gd name="connsiteX260" fmla="*/ 1325331 w 5305156"/>
              <a:gd name="connsiteY260" fmla="*/ 4196409 h 6858000"/>
              <a:gd name="connsiteX261" fmla="*/ 1000847 w 5305156"/>
              <a:gd name="connsiteY261" fmla="*/ 4478714 h 6858000"/>
              <a:gd name="connsiteX262" fmla="*/ 1326033 w 5305156"/>
              <a:gd name="connsiteY262" fmla="*/ 4756288 h 6858000"/>
              <a:gd name="connsiteX263" fmla="*/ 1347806 w 5305156"/>
              <a:gd name="connsiteY263" fmla="*/ 4737362 h 6858000"/>
              <a:gd name="connsiteX264" fmla="*/ 1347806 w 5305156"/>
              <a:gd name="connsiteY264" fmla="*/ 4753922 h 6858000"/>
              <a:gd name="connsiteX265" fmla="*/ 1331652 w 5305156"/>
              <a:gd name="connsiteY265" fmla="*/ 4768116 h 6858000"/>
              <a:gd name="connsiteX266" fmla="*/ 1331652 w 5305156"/>
              <a:gd name="connsiteY266" fmla="*/ 5114295 h 6858000"/>
              <a:gd name="connsiteX267" fmla="*/ 1347806 w 5305156"/>
              <a:gd name="connsiteY267" fmla="*/ 5100101 h 6858000"/>
              <a:gd name="connsiteX268" fmla="*/ 1347806 w 5305156"/>
              <a:gd name="connsiteY268" fmla="*/ 5116661 h 6858000"/>
              <a:gd name="connsiteX269" fmla="*/ 1333759 w 5305156"/>
              <a:gd name="connsiteY269" fmla="*/ 5129278 h 6858000"/>
              <a:gd name="connsiteX270" fmla="*/ 1333759 w 5305156"/>
              <a:gd name="connsiteY270" fmla="*/ 5306704 h 6858000"/>
              <a:gd name="connsiteX271" fmla="*/ 1321819 w 5305156"/>
              <a:gd name="connsiteY271" fmla="*/ 5309070 h 6858000"/>
              <a:gd name="connsiteX272" fmla="*/ 1321819 w 5305156"/>
              <a:gd name="connsiteY272" fmla="*/ 5134798 h 6858000"/>
              <a:gd name="connsiteX273" fmla="*/ 1151851 w 5305156"/>
              <a:gd name="connsiteY273" fmla="*/ 5283047 h 6858000"/>
              <a:gd name="connsiteX274" fmla="*/ 1144827 w 5305156"/>
              <a:gd name="connsiteY274" fmla="*/ 5272008 h 6858000"/>
              <a:gd name="connsiteX275" fmla="*/ 1314093 w 5305156"/>
              <a:gd name="connsiteY275" fmla="*/ 5125335 h 6858000"/>
              <a:gd name="connsiteX276" fmla="*/ 988907 w 5305156"/>
              <a:gd name="connsiteY276" fmla="*/ 4847761 h 6858000"/>
              <a:gd name="connsiteX277" fmla="*/ 913053 w 5305156"/>
              <a:gd name="connsiteY277" fmla="*/ 4913212 h 6858000"/>
              <a:gd name="connsiteX278" fmla="*/ 668636 w 5305156"/>
              <a:gd name="connsiteY278" fmla="*/ 5126124 h 6858000"/>
              <a:gd name="connsiteX279" fmla="*/ 993823 w 5305156"/>
              <a:gd name="connsiteY279" fmla="*/ 5403697 h 6858000"/>
              <a:gd name="connsiteX280" fmla="*/ 1144827 w 5305156"/>
              <a:gd name="connsiteY280" fmla="*/ 5272796 h 6858000"/>
              <a:gd name="connsiteX281" fmla="*/ 1151149 w 5305156"/>
              <a:gd name="connsiteY281" fmla="*/ 5283047 h 6858000"/>
              <a:gd name="connsiteX282" fmla="*/ 999441 w 5305156"/>
              <a:gd name="connsiteY282" fmla="*/ 5415526 h 6858000"/>
              <a:gd name="connsiteX283" fmla="*/ 999441 w 5305156"/>
              <a:gd name="connsiteY283" fmla="*/ 5761705 h 6858000"/>
              <a:gd name="connsiteX284" fmla="*/ 1321819 w 5305156"/>
              <a:gd name="connsiteY284" fmla="*/ 5480976 h 6858000"/>
              <a:gd name="connsiteX285" fmla="*/ 1321819 w 5305156"/>
              <a:gd name="connsiteY285" fmla="*/ 5309858 h 6858000"/>
              <a:gd name="connsiteX286" fmla="*/ 1333759 w 5305156"/>
              <a:gd name="connsiteY286" fmla="*/ 5307493 h 6858000"/>
              <a:gd name="connsiteX287" fmla="*/ 1333759 w 5305156"/>
              <a:gd name="connsiteY287" fmla="*/ 5487285 h 6858000"/>
              <a:gd name="connsiteX288" fmla="*/ 1549380 w 5305156"/>
              <a:gd name="connsiteY288" fmla="*/ 5671020 h 6858000"/>
              <a:gd name="connsiteX289" fmla="*/ 1665970 w 5305156"/>
              <a:gd name="connsiteY289" fmla="*/ 5770379 h 6858000"/>
              <a:gd name="connsiteX290" fmla="*/ 1665970 w 5305156"/>
              <a:gd name="connsiteY290" fmla="*/ 6021141 h 6858000"/>
              <a:gd name="connsiteX291" fmla="*/ 1654030 w 5305156"/>
              <a:gd name="connsiteY291" fmla="*/ 6026661 h 6858000"/>
              <a:gd name="connsiteX292" fmla="*/ 1654030 w 5305156"/>
              <a:gd name="connsiteY292" fmla="*/ 5786939 h 6858000"/>
              <a:gd name="connsiteX293" fmla="*/ 1331652 w 5305156"/>
              <a:gd name="connsiteY293" fmla="*/ 6067667 h 6858000"/>
              <a:gd name="connsiteX294" fmla="*/ 1331652 w 5305156"/>
              <a:gd name="connsiteY294" fmla="*/ 6413845 h 6858000"/>
              <a:gd name="connsiteX295" fmla="*/ 1654030 w 5305156"/>
              <a:gd name="connsiteY295" fmla="*/ 6133906 h 6858000"/>
              <a:gd name="connsiteX296" fmla="*/ 1654030 w 5305156"/>
              <a:gd name="connsiteY296" fmla="*/ 6027450 h 6858000"/>
              <a:gd name="connsiteX297" fmla="*/ 1665970 w 5305156"/>
              <a:gd name="connsiteY297" fmla="*/ 6021930 h 6858000"/>
              <a:gd name="connsiteX298" fmla="*/ 1665970 w 5305156"/>
              <a:gd name="connsiteY298" fmla="*/ 6140214 h 6858000"/>
              <a:gd name="connsiteX299" fmla="*/ 1326033 w 5305156"/>
              <a:gd name="connsiteY299" fmla="*/ 6435925 h 6858000"/>
              <a:gd name="connsiteX300" fmla="*/ 988907 w 5305156"/>
              <a:gd name="connsiteY300" fmla="*/ 6147311 h 6858000"/>
              <a:gd name="connsiteX301" fmla="*/ 908136 w 5305156"/>
              <a:gd name="connsiteY301" fmla="*/ 6217493 h 6858000"/>
              <a:gd name="connsiteX302" fmla="*/ 901815 w 5305156"/>
              <a:gd name="connsiteY302" fmla="*/ 6206454 h 6858000"/>
              <a:gd name="connsiteX303" fmla="*/ 907434 w 5305156"/>
              <a:gd name="connsiteY303" fmla="*/ 6218282 h 6858000"/>
              <a:gd name="connsiteX304" fmla="*/ 665124 w 5305156"/>
              <a:gd name="connsiteY304" fmla="*/ 6429617 h 6858000"/>
              <a:gd name="connsiteX305" fmla="*/ 665124 w 5305156"/>
              <a:gd name="connsiteY305" fmla="*/ 6784470 h 6858000"/>
              <a:gd name="connsiteX306" fmla="*/ 722014 w 5305156"/>
              <a:gd name="connsiteY306" fmla="*/ 6833040 h 6858000"/>
              <a:gd name="connsiteX307" fmla="*/ 751249 w 5305156"/>
              <a:gd name="connsiteY307" fmla="*/ 6858000 h 6858000"/>
              <a:gd name="connsiteX308" fmla="*/ 5305156 w 5305156"/>
              <a:gd name="connsiteY3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Lst>
            <a:rect l="l" t="t" r="r" b="b"/>
            <a:pathLst>
              <a:path w="5305156" h="6858000">
                <a:moveTo>
                  <a:pt x="657398" y="6793932"/>
                </a:moveTo>
                <a:cubicBezTo>
                  <a:pt x="657398" y="6793932"/>
                  <a:pt x="657398" y="6793932"/>
                  <a:pt x="585057" y="6857017"/>
                </a:cubicBezTo>
                <a:lnTo>
                  <a:pt x="583930" y="6858000"/>
                </a:lnTo>
                <a:lnTo>
                  <a:pt x="732294" y="6858000"/>
                </a:lnTo>
                <a:lnTo>
                  <a:pt x="725614" y="6852286"/>
                </a:lnTo>
                <a:cubicBezTo>
                  <a:pt x="709021" y="6838092"/>
                  <a:pt x="686897" y="6819166"/>
                  <a:pt x="657398" y="6793932"/>
                </a:cubicBezTo>
                <a:close/>
                <a:moveTo>
                  <a:pt x="653184" y="6434348"/>
                </a:moveTo>
                <a:cubicBezTo>
                  <a:pt x="653184" y="6434348"/>
                  <a:pt x="653184" y="6434348"/>
                  <a:pt x="330807" y="6715076"/>
                </a:cubicBezTo>
                <a:cubicBezTo>
                  <a:pt x="330807" y="6715076"/>
                  <a:pt x="330807" y="6715076"/>
                  <a:pt x="330807" y="6799592"/>
                </a:cubicBezTo>
                <a:lnTo>
                  <a:pt x="330807" y="6858000"/>
                </a:lnTo>
                <a:lnTo>
                  <a:pt x="564153" y="6858000"/>
                </a:lnTo>
                <a:lnTo>
                  <a:pt x="568902" y="6853863"/>
                </a:lnTo>
                <a:cubicBezTo>
                  <a:pt x="573818" y="6854652"/>
                  <a:pt x="579438" y="6856229"/>
                  <a:pt x="585057" y="6857017"/>
                </a:cubicBezTo>
                <a:cubicBezTo>
                  <a:pt x="579438" y="6855440"/>
                  <a:pt x="574521" y="6854652"/>
                  <a:pt x="569605" y="6853075"/>
                </a:cubicBezTo>
                <a:cubicBezTo>
                  <a:pt x="569605" y="6853075"/>
                  <a:pt x="569605" y="6853075"/>
                  <a:pt x="653184" y="6780527"/>
                </a:cubicBezTo>
                <a:cubicBezTo>
                  <a:pt x="653184" y="6780527"/>
                  <a:pt x="653184" y="6780527"/>
                  <a:pt x="653184" y="6434348"/>
                </a:cubicBezTo>
                <a:close/>
                <a:moveTo>
                  <a:pt x="5047259" y="6343650"/>
                </a:moveTo>
                <a:lnTo>
                  <a:pt x="5047259" y="6707250"/>
                </a:lnTo>
                <a:lnTo>
                  <a:pt x="4683659" y="6707250"/>
                </a:lnTo>
                <a:lnTo>
                  <a:pt x="4683659" y="6343650"/>
                </a:lnTo>
                <a:close/>
                <a:moveTo>
                  <a:pt x="985394" y="5786939"/>
                </a:moveTo>
                <a:cubicBezTo>
                  <a:pt x="985394" y="5786939"/>
                  <a:pt x="985394" y="5786939"/>
                  <a:pt x="777500" y="5968308"/>
                </a:cubicBezTo>
                <a:cubicBezTo>
                  <a:pt x="777500" y="5968308"/>
                  <a:pt x="777500" y="5968308"/>
                  <a:pt x="663017" y="6067667"/>
                </a:cubicBezTo>
                <a:cubicBezTo>
                  <a:pt x="663017" y="6067667"/>
                  <a:pt x="663017" y="6067667"/>
                  <a:pt x="663017" y="6413845"/>
                </a:cubicBezTo>
                <a:cubicBezTo>
                  <a:pt x="663017" y="6413845"/>
                  <a:pt x="663017" y="6413845"/>
                  <a:pt x="901815" y="6206454"/>
                </a:cubicBezTo>
                <a:cubicBezTo>
                  <a:pt x="901815" y="6206454"/>
                  <a:pt x="901815" y="6206454"/>
                  <a:pt x="985394" y="6133906"/>
                </a:cubicBezTo>
                <a:cubicBezTo>
                  <a:pt x="985394" y="6133906"/>
                  <a:pt x="985394" y="6133906"/>
                  <a:pt x="985394" y="5786939"/>
                </a:cubicBezTo>
                <a:close/>
                <a:moveTo>
                  <a:pt x="1549380" y="5671020"/>
                </a:moveTo>
                <a:cubicBezTo>
                  <a:pt x="1537440" y="5677328"/>
                  <a:pt x="1537440" y="5677328"/>
                  <a:pt x="1537440" y="5677328"/>
                </a:cubicBezTo>
                <a:cubicBezTo>
                  <a:pt x="1549380" y="5671020"/>
                  <a:pt x="1549380" y="5671020"/>
                  <a:pt x="1549380" y="5671020"/>
                </a:cubicBezTo>
                <a:close/>
                <a:moveTo>
                  <a:pt x="1325331" y="5495959"/>
                </a:moveTo>
                <a:cubicBezTo>
                  <a:pt x="1325331" y="5495959"/>
                  <a:pt x="1325331" y="5495959"/>
                  <a:pt x="1000847" y="5779053"/>
                </a:cubicBezTo>
                <a:cubicBezTo>
                  <a:pt x="1000847" y="5779053"/>
                  <a:pt x="1000847" y="5779053"/>
                  <a:pt x="1326033" y="6056627"/>
                </a:cubicBezTo>
                <a:cubicBezTo>
                  <a:pt x="1326033" y="6056627"/>
                  <a:pt x="1326033" y="6056627"/>
                  <a:pt x="1650518" y="5773533"/>
                </a:cubicBezTo>
                <a:cubicBezTo>
                  <a:pt x="1650518" y="5773533"/>
                  <a:pt x="1650518" y="5773533"/>
                  <a:pt x="1537440" y="5677328"/>
                </a:cubicBezTo>
                <a:cubicBezTo>
                  <a:pt x="1537440" y="5677328"/>
                  <a:pt x="1537440" y="5677328"/>
                  <a:pt x="1325331" y="5495959"/>
                </a:cubicBezTo>
                <a:close/>
                <a:moveTo>
                  <a:pt x="320271" y="4847761"/>
                </a:moveTo>
                <a:cubicBezTo>
                  <a:pt x="320271" y="4847761"/>
                  <a:pt x="320271" y="4847761"/>
                  <a:pt x="0" y="5126124"/>
                </a:cubicBezTo>
                <a:cubicBezTo>
                  <a:pt x="0" y="5126124"/>
                  <a:pt x="0" y="5126124"/>
                  <a:pt x="325188" y="5403697"/>
                </a:cubicBezTo>
                <a:cubicBezTo>
                  <a:pt x="325188" y="5403697"/>
                  <a:pt x="325188" y="5403697"/>
                  <a:pt x="433349" y="5309070"/>
                </a:cubicBezTo>
                <a:cubicBezTo>
                  <a:pt x="433349" y="5309070"/>
                  <a:pt x="433349" y="5309070"/>
                  <a:pt x="439670" y="5320898"/>
                </a:cubicBezTo>
                <a:cubicBezTo>
                  <a:pt x="439670" y="5320898"/>
                  <a:pt x="439670" y="5320898"/>
                  <a:pt x="330807" y="5415526"/>
                </a:cubicBezTo>
                <a:cubicBezTo>
                  <a:pt x="330807" y="5415526"/>
                  <a:pt x="330807" y="5415526"/>
                  <a:pt x="330807" y="5761705"/>
                </a:cubicBezTo>
                <a:cubicBezTo>
                  <a:pt x="330807" y="5761705"/>
                  <a:pt x="330807" y="5761705"/>
                  <a:pt x="563986" y="5559044"/>
                </a:cubicBezTo>
                <a:cubicBezTo>
                  <a:pt x="563986" y="5559044"/>
                  <a:pt x="563986" y="5559044"/>
                  <a:pt x="570307" y="5571661"/>
                </a:cubicBezTo>
                <a:cubicBezTo>
                  <a:pt x="570307" y="5571661"/>
                  <a:pt x="570307" y="5571661"/>
                  <a:pt x="332211" y="5779053"/>
                </a:cubicBezTo>
                <a:cubicBezTo>
                  <a:pt x="332211" y="5779053"/>
                  <a:pt x="332211" y="5779053"/>
                  <a:pt x="657398" y="6056627"/>
                </a:cubicBezTo>
                <a:cubicBezTo>
                  <a:pt x="657398" y="6056627"/>
                  <a:pt x="657398" y="6056627"/>
                  <a:pt x="771178" y="5957268"/>
                </a:cubicBezTo>
                <a:cubicBezTo>
                  <a:pt x="771178" y="5957268"/>
                  <a:pt x="771178" y="5957268"/>
                  <a:pt x="777500" y="5968308"/>
                </a:cubicBezTo>
                <a:cubicBezTo>
                  <a:pt x="777500" y="5968308"/>
                  <a:pt x="777500" y="5968308"/>
                  <a:pt x="771881" y="5956479"/>
                </a:cubicBezTo>
                <a:cubicBezTo>
                  <a:pt x="771881" y="5956479"/>
                  <a:pt x="771881" y="5956479"/>
                  <a:pt x="981883" y="5773533"/>
                </a:cubicBezTo>
                <a:cubicBezTo>
                  <a:pt x="981883" y="5773533"/>
                  <a:pt x="981883" y="5773533"/>
                  <a:pt x="656696" y="5495959"/>
                </a:cubicBezTo>
                <a:cubicBezTo>
                  <a:pt x="656696" y="5495959"/>
                  <a:pt x="656696" y="5495959"/>
                  <a:pt x="571010" y="5570873"/>
                </a:cubicBezTo>
                <a:cubicBezTo>
                  <a:pt x="571010" y="5570873"/>
                  <a:pt x="571010" y="5570873"/>
                  <a:pt x="563986" y="5558256"/>
                </a:cubicBezTo>
                <a:cubicBezTo>
                  <a:pt x="563986" y="5558256"/>
                  <a:pt x="563986" y="5558256"/>
                  <a:pt x="653184" y="5480976"/>
                </a:cubicBezTo>
                <a:cubicBezTo>
                  <a:pt x="653184" y="5480976"/>
                  <a:pt x="653184" y="5480976"/>
                  <a:pt x="653184" y="5134798"/>
                </a:cubicBezTo>
                <a:cubicBezTo>
                  <a:pt x="653184" y="5134798"/>
                  <a:pt x="653184" y="5134798"/>
                  <a:pt x="439670" y="5320110"/>
                </a:cubicBezTo>
                <a:cubicBezTo>
                  <a:pt x="439670" y="5320110"/>
                  <a:pt x="439670" y="5320110"/>
                  <a:pt x="434052" y="5309070"/>
                </a:cubicBezTo>
                <a:cubicBezTo>
                  <a:pt x="434052" y="5309070"/>
                  <a:pt x="434052" y="5309070"/>
                  <a:pt x="645458" y="5125335"/>
                </a:cubicBezTo>
                <a:cubicBezTo>
                  <a:pt x="645458" y="5125335"/>
                  <a:pt x="645458" y="5125335"/>
                  <a:pt x="320271" y="4847761"/>
                </a:cubicBezTo>
                <a:close/>
                <a:moveTo>
                  <a:pt x="985394" y="4487388"/>
                </a:moveTo>
                <a:cubicBezTo>
                  <a:pt x="985394" y="4487388"/>
                  <a:pt x="985394" y="4487388"/>
                  <a:pt x="763453" y="4680586"/>
                </a:cubicBezTo>
                <a:cubicBezTo>
                  <a:pt x="763453" y="4680586"/>
                  <a:pt x="763453" y="4680586"/>
                  <a:pt x="756430" y="4670335"/>
                </a:cubicBezTo>
                <a:cubicBezTo>
                  <a:pt x="756430" y="4670335"/>
                  <a:pt x="756430" y="4670335"/>
                  <a:pt x="762750" y="4680586"/>
                </a:cubicBezTo>
                <a:cubicBezTo>
                  <a:pt x="762750" y="4680586"/>
                  <a:pt x="762750" y="4680586"/>
                  <a:pt x="663017" y="4768116"/>
                </a:cubicBezTo>
                <a:cubicBezTo>
                  <a:pt x="663017" y="4768116"/>
                  <a:pt x="663017" y="4768116"/>
                  <a:pt x="663017" y="5114295"/>
                </a:cubicBezTo>
                <a:cubicBezTo>
                  <a:pt x="663017" y="5114295"/>
                  <a:pt x="663017" y="5114295"/>
                  <a:pt x="906029" y="4902960"/>
                </a:cubicBezTo>
                <a:cubicBezTo>
                  <a:pt x="906029" y="4902960"/>
                  <a:pt x="906029" y="4902960"/>
                  <a:pt x="913053" y="4913212"/>
                </a:cubicBezTo>
                <a:cubicBezTo>
                  <a:pt x="913053" y="4913212"/>
                  <a:pt x="913053" y="4913212"/>
                  <a:pt x="906732" y="4902172"/>
                </a:cubicBezTo>
                <a:cubicBezTo>
                  <a:pt x="906732" y="4902172"/>
                  <a:pt x="906732" y="4902172"/>
                  <a:pt x="985394" y="4833567"/>
                </a:cubicBezTo>
                <a:cubicBezTo>
                  <a:pt x="985394" y="4833567"/>
                  <a:pt x="985394" y="4833567"/>
                  <a:pt x="985394" y="4487388"/>
                </a:cubicBezTo>
                <a:close/>
                <a:moveTo>
                  <a:pt x="656696" y="4196409"/>
                </a:moveTo>
                <a:cubicBezTo>
                  <a:pt x="656696" y="4196409"/>
                  <a:pt x="656696" y="4196409"/>
                  <a:pt x="332211" y="4478714"/>
                </a:cubicBezTo>
                <a:cubicBezTo>
                  <a:pt x="332211" y="4478714"/>
                  <a:pt x="332211" y="4478714"/>
                  <a:pt x="657398" y="4756288"/>
                </a:cubicBezTo>
                <a:cubicBezTo>
                  <a:pt x="657398" y="4756288"/>
                  <a:pt x="657398" y="4756288"/>
                  <a:pt x="756430" y="4670335"/>
                </a:cubicBezTo>
                <a:cubicBezTo>
                  <a:pt x="756430" y="4670335"/>
                  <a:pt x="756430" y="4670335"/>
                  <a:pt x="981883" y="4473983"/>
                </a:cubicBezTo>
                <a:cubicBezTo>
                  <a:pt x="981883" y="4473983"/>
                  <a:pt x="981883" y="4473983"/>
                  <a:pt x="656696" y="4196409"/>
                </a:cubicBezTo>
                <a:close/>
                <a:moveTo>
                  <a:pt x="993120" y="3544268"/>
                </a:moveTo>
                <a:cubicBezTo>
                  <a:pt x="993120" y="3544268"/>
                  <a:pt x="993120" y="3544268"/>
                  <a:pt x="668636" y="3826573"/>
                </a:cubicBezTo>
                <a:cubicBezTo>
                  <a:pt x="668636" y="3826573"/>
                  <a:pt x="668636" y="3826573"/>
                  <a:pt x="993823" y="4104935"/>
                </a:cubicBezTo>
                <a:cubicBezTo>
                  <a:pt x="993823" y="4104935"/>
                  <a:pt x="993823" y="4104935"/>
                  <a:pt x="1318308" y="3821842"/>
                </a:cubicBezTo>
                <a:cubicBezTo>
                  <a:pt x="1318308" y="3821842"/>
                  <a:pt x="1318308" y="3821842"/>
                  <a:pt x="1002251" y="3552154"/>
                </a:cubicBezTo>
                <a:cubicBezTo>
                  <a:pt x="1002251" y="3552154"/>
                  <a:pt x="1002251" y="3552154"/>
                  <a:pt x="993120" y="3544268"/>
                </a:cubicBezTo>
                <a:close/>
                <a:moveTo>
                  <a:pt x="1318308" y="2538851"/>
                </a:moveTo>
                <a:cubicBezTo>
                  <a:pt x="1318308" y="2538851"/>
                  <a:pt x="1318308" y="2538851"/>
                  <a:pt x="1110412" y="2719432"/>
                </a:cubicBezTo>
                <a:cubicBezTo>
                  <a:pt x="1110412" y="2719432"/>
                  <a:pt x="1110412" y="2719432"/>
                  <a:pt x="1104092" y="2708392"/>
                </a:cubicBezTo>
                <a:cubicBezTo>
                  <a:pt x="1104092" y="2708392"/>
                  <a:pt x="1104092" y="2708392"/>
                  <a:pt x="1109710" y="2720221"/>
                </a:cubicBezTo>
                <a:cubicBezTo>
                  <a:pt x="1109710" y="2720221"/>
                  <a:pt x="1109710" y="2720221"/>
                  <a:pt x="995930" y="2819579"/>
                </a:cubicBezTo>
                <a:cubicBezTo>
                  <a:pt x="995930" y="2819579"/>
                  <a:pt x="995930" y="2819579"/>
                  <a:pt x="995930" y="3165758"/>
                </a:cubicBezTo>
                <a:cubicBezTo>
                  <a:pt x="995930" y="3165758"/>
                  <a:pt x="995930" y="3165758"/>
                  <a:pt x="1234025" y="2958366"/>
                </a:cubicBezTo>
                <a:cubicBezTo>
                  <a:pt x="1234025" y="2958366"/>
                  <a:pt x="1234025" y="2958366"/>
                  <a:pt x="1240347" y="2969406"/>
                </a:cubicBezTo>
                <a:cubicBezTo>
                  <a:pt x="1240347" y="2969406"/>
                  <a:pt x="1240347" y="2969406"/>
                  <a:pt x="1234728" y="2957578"/>
                </a:cubicBezTo>
                <a:cubicBezTo>
                  <a:pt x="1234728" y="2957578"/>
                  <a:pt x="1234728" y="2957578"/>
                  <a:pt x="1318308" y="2885030"/>
                </a:cubicBezTo>
                <a:cubicBezTo>
                  <a:pt x="1318308" y="2885030"/>
                  <a:pt x="1318308" y="2885030"/>
                  <a:pt x="1318308" y="2538851"/>
                </a:cubicBezTo>
                <a:close/>
                <a:moveTo>
                  <a:pt x="652482" y="1598885"/>
                </a:moveTo>
                <a:cubicBezTo>
                  <a:pt x="652482" y="1598885"/>
                  <a:pt x="652482" y="1598885"/>
                  <a:pt x="332211" y="1878036"/>
                </a:cubicBezTo>
                <a:cubicBezTo>
                  <a:pt x="332211" y="1878036"/>
                  <a:pt x="332211" y="1878036"/>
                  <a:pt x="657398" y="2155610"/>
                </a:cubicBezTo>
                <a:cubicBezTo>
                  <a:pt x="657398" y="2155610"/>
                  <a:pt x="657398" y="2155610"/>
                  <a:pt x="766262" y="2060983"/>
                </a:cubicBezTo>
                <a:cubicBezTo>
                  <a:pt x="766262" y="2060983"/>
                  <a:pt x="766262" y="2060983"/>
                  <a:pt x="771881" y="2072022"/>
                </a:cubicBezTo>
                <a:cubicBezTo>
                  <a:pt x="771881" y="2072022"/>
                  <a:pt x="771881" y="2072022"/>
                  <a:pt x="663017" y="2166650"/>
                </a:cubicBezTo>
                <a:cubicBezTo>
                  <a:pt x="663017" y="2166650"/>
                  <a:pt x="663017" y="2166650"/>
                  <a:pt x="663017" y="2513617"/>
                </a:cubicBezTo>
                <a:cubicBezTo>
                  <a:pt x="663017" y="2513617"/>
                  <a:pt x="663017" y="2513617"/>
                  <a:pt x="896196" y="2310168"/>
                </a:cubicBezTo>
                <a:cubicBezTo>
                  <a:pt x="896196" y="2310168"/>
                  <a:pt x="896196" y="2310168"/>
                  <a:pt x="902517" y="2322785"/>
                </a:cubicBezTo>
                <a:cubicBezTo>
                  <a:pt x="902517" y="2322785"/>
                  <a:pt x="902517" y="2322785"/>
                  <a:pt x="665124" y="2530177"/>
                </a:cubicBezTo>
                <a:cubicBezTo>
                  <a:pt x="665124" y="2530177"/>
                  <a:pt x="665124" y="2530177"/>
                  <a:pt x="990311" y="2807751"/>
                </a:cubicBezTo>
                <a:cubicBezTo>
                  <a:pt x="990311" y="2807751"/>
                  <a:pt x="990311" y="2807751"/>
                  <a:pt x="1104092" y="2708392"/>
                </a:cubicBezTo>
                <a:cubicBezTo>
                  <a:pt x="1104092" y="2708392"/>
                  <a:pt x="1104092" y="2708392"/>
                  <a:pt x="1314093" y="2525446"/>
                </a:cubicBezTo>
                <a:cubicBezTo>
                  <a:pt x="1314093" y="2525446"/>
                  <a:pt x="1314093" y="2525446"/>
                  <a:pt x="988907" y="2247872"/>
                </a:cubicBezTo>
                <a:cubicBezTo>
                  <a:pt x="988907" y="2247872"/>
                  <a:pt x="988907" y="2247872"/>
                  <a:pt x="903220" y="2322785"/>
                </a:cubicBezTo>
                <a:cubicBezTo>
                  <a:pt x="903220" y="2322785"/>
                  <a:pt x="903220" y="2322785"/>
                  <a:pt x="896899" y="2310168"/>
                </a:cubicBezTo>
                <a:cubicBezTo>
                  <a:pt x="896899" y="2310168"/>
                  <a:pt x="896899" y="2310168"/>
                  <a:pt x="985394" y="2232889"/>
                </a:cubicBezTo>
                <a:cubicBezTo>
                  <a:pt x="985394" y="2232889"/>
                  <a:pt x="985394" y="2232889"/>
                  <a:pt x="985394" y="1885922"/>
                </a:cubicBezTo>
                <a:cubicBezTo>
                  <a:pt x="985394" y="1885922"/>
                  <a:pt x="985394" y="1885922"/>
                  <a:pt x="772583" y="2072022"/>
                </a:cubicBezTo>
                <a:cubicBezTo>
                  <a:pt x="772583" y="2072022"/>
                  <a:pt x="772583" y="2072022"/>
                  <a:pt x="766262" y="2060194"/>
                </a:cubicBezTo>
                <a:cubicBezTo>
                  <a:pt x="766262" y="2060194"/>
                  <a:pt x="766262" y="2060194"/>
                  <a:pt x="977669" y="1876459"/>
                </a:cubicBezTo>
                <a:cubicBezTo>
                  <a:pt x="977669" y="1876459"/>
                  <a:pt x="977669" y="1876459"/>
                  <a:pt x="652482" y="1598885"/>
                </a:cubicBezTo>
                <a:close/>
                <a:moveTo>
                  <a:pt x="1318308" y="1238512"/>
                </a:moveTo>
                <a:cubicBezTo>
                  <a:pt x="1318308" y="1238512"/>
                  <a:pt x="1318308" y="1238512"/>
                  <a:pt x="1095663" y="1432499"/>
                </a:cubicBezTo>
                <a:cubicBezTo>
                  <a:pt x="1095663" y="1432499"/>
                  <a:pt x="1095663" y="1432499"/>
                  <a:pt x="995930" y="1519240"/>
                </a:cubicBezTo>
                <a:cubicBezTo>
                  <a:pt x="995930" y="1519240"/>
                  <a:pt x="995930" y="1519240"/>
                  <a:pt x="995930" y="1865419"/>
                </a:cubicBezTo>
                <a:cubicBezTo>
                  <a:pt x="995930" y="1865419"/>
                  <a:pt x="995930" y="1865419"/>
                  <a:pt x="1238240" y="1654085"/>
                </a:cubicBezTo>
                <a:cubicBezTo>
                  <a:pt x="1238240" y="1654085"/>
                  <a:pt x="1238240" y="1654085"/>
                  <a:pt x="1245264" y="1665124"/>
                </a:cubicBezTo>
                <a:cubicBezTo>
                  <a:pt x="1245264" y="1665124"/>
                  <a:pt x="1245264" y="1665124"/>
                  <a:pt x="1000847" y="1878036"/>
                </a:cubicBezTo>
                <a:cubicBezTo>
                  <a:pt x="1000847" y="1878036"/>
                  <a:pt x="1000847" y="1878036"/>
                  <a:pt x="1326033" y="2155610"/>
                </a:cubicBezTo>
                <a:cubicBezTo>
                  <a:pt x="1326033" y="2155610"/>
                  <a:pt x="1326033" y="2155610"/>
                  <a:pt x="1477038" y="2023920"/>
                </a:cubicBezTo>
                <a:cubicBezTo>
                  <a:pt x="1477038" y="2023920"/>
                  <a:pt x="1477038" y="2023920"/>
                  <a:pt x="1646304" y="1876459"/>
                </a:cubicBezTo>
                <a:cubicBezTo>
                  <a:pt x="1646304" y="1876459"/>
                  <a:pt x="1646304" y="1876459"/>
                  <a:pt x="1321116" y="1598885"/>
                </a:cubicBezTo>
                <a:cubicBezTo>
                  <a:pt x="1321116" y="1598885"/>
                  <a:pt x="1321116" y="1598885"/>
                  <a:pt x="1245965" y="1664336"/>
                </a:cubicBezTo>
                <a:cubicBezTo>
                  <a:pt x="1245965" y="1664336"/>
                  <a:pt x="1245965" y="1664336"/>
                  <a:pt x="1238942" y="1654085"/>
                </a:cubicBezTo>
                <a:cubicBezTo>
                  <a:pt x="1238942" y="1654085"/>
                  <a:pt x="1238942" y="1654085"/>
                  <a:pt x="1318308" y="1585480"/>
                </a:cubicBezTo>
                <a:cubicBezTo>
                  <a:pt x="1318308" y="1585480"/>
                  <a:pt x="1318308" y="1585480"/>
                  <a:pt x="1318308" y="1238512"/>
                </a:cubicBezTo>
                <a:close/>
                <a:moveTo>
                  <a:pt x="988907" y="947533"/>
                </a:moveTo>
                <a:cubicBezTo>
                  <a:pt x="988907" y="947533"/>
                  <a:pt x="988907" y="947533"/>
                  <a:pt x="665124" y="1230627"/>
                </a:cubicBezTo>
                <a:cubicBezTo>
                  <a:pt x="665124" y="1230627"/>
                  <a:pt x="665124" y="1230627"/>
                  <a:pt x="990311" y="1508201"/>
                </a:cubicBezTo>
                <a:cubicBezTo>
                  <a:pt x="990311" y="1508201"/>
                  <a:pt x="990311" y="1508201"/>
                  <a:pt x="1088639" y="1422247"/>
                </a:cubicBezTo>
                <a:cubicBezTo>
                  <a:pt x="1088639" y="1422247"/>
                  <a:pt x="1088639" y="1422247"/>
                  <a:pt x="1095663" y="1432499"/>
                </a:cubicBezTo>
                <a:cubicBezTo>
                  <a:pt x="1095663" y="1432499"/>
                  <a:pt x="1095663" y="1432499"/>
                  <a:pt x="1089342" y="1421459"/>
                </a:cubicBezTo>
                <a:cubicBezTo>
                  <a:pt x="1089342" y="1421459"/>
                  <a:pt x="1089342" y="1421459"/>
                  <a:pt x="1314093" y="1225107"/>
                </a:cubicBezTo>
                <a:cubicBezTo>
                  <a:pt x="1314093" y="1225107"/>
                  <a:pt x="1314093" y="1225107"/>
                  <a:pt x="988907" y="947533"/>
                </a:cubicBezTo>
                <a:close/>
                <a:moveTo>
                  <a:pt x="1325331" y="296181"/>
                </a:moveTo>
                <a:cubicBezTo>
                  <a:pt x="1325331" y="296181"/>
                  <a:pt x="1325331" y="296181"/>
                  <a:pt x="1000847" y="578486"/>
                </a:cubicBezTo>
                <a:cubicBezTo>
                  <a:pt x="1000847" y="578486"/>
                  <a:pt x="1000847" y="578486"/>
                  <a:pt x="1326033" y="856060"/>
                </a:cubicBezTo>
                <a:cubicBezTo>
                  <a:pt x="1326033" y="856060"/>
                  <a:pt x="1326033" y="856060"/>
                  <a:pt x="1650518" y="573754"/>
                </a:cubicBezTo>
                <a:cubicBezTo>
                  <a:pt x="1650518" y="573754"/>
                  <a:pt x="1650518" y="573754"/>
                  <a:pt x="1334462" y="304066"/>
                </a:cubicBezTo>
                <a:cubicBezTo>
                  <a:pt x="1334462" y="304066"/>
                  <a:pt x="1334462" y="304066"/>
                  <a:pt x="1325331" y="296181"/>
                </a:cubicBezTo>
                <a:close/>
                <a:moveTo>
                  <a:pt x="1226725" y="0"/>
                </a:moveTo>
                <a:lnTo>
                  <a:pt x="748180" y="0"/>
                </a:lnTo>
                <a:lnTo>
                  <a:pt x="763540" y="13087"/>
                </a:lnTo>
                <a:cubicBezTo>
                  <a:pt x="795936" y="40686"/>
                  <a:pt x="860728" y="95886"/>
                  <a:pt x="990311" y="206284"/>
                </a:cubicBezTo>
                <a:cubicBezTo>
                  <a:pt x="990311" y="206284"/>
                  <a:pt x="990311" y="206284"/>
                  <a:pt x="1159227" y="58896"/>
                </a:cubicBezTo>
                <a:close/>
                <a:moveTo>
                  <a:pt x="1318308" y="0"/>
                </a:moveTo>
                <a:lnTo>
                  <a:pt x="1245701" y="0"/>
                </a:lnTo>
                <a:lnTo>
                  <a:pt x="1228232" y="15255"/>
                </a:lnTo>
                <a:cubicBezTo>
                  <a:pt x="1195046" y="44235"/>
                  <a:pt x="1128673" y="102194"/>
                  <a:pt x="995930" y="218113"/>
                </a:cubicBezTo>
                <a:cubicBezTo>
                  <a:pt x="995930" y="218113"/>
                  <a:pt x="995930" y="218113"/>
                  <a:pt x="995930" y="564292"/>
                </a:cubicBezTo>
                <a:cubicBezTo>
                  <a:pt x="995930" y="564292"/>
                  <a:pt x="995930" y="564292"/>
                  <a:pt x="1318308" y="283564"/>
                </a:cubicBezTo>
                <a:cubicBezTo>
                  <a:pt x="1318308" y="283564"/>
                  <a:pt x="1318308" y="283564"/>
                  <a:pt x="1318308" y="84404"/>
                </a:cubicBezTo>
                <a:close/>
                <a:moveTo>
                  <a:pt x="5305156" y="0"/>
                </a:moveTo>
                <a:lnTo>
                  <a:pt x="1329545" y="0"/>
                </a:lnTo>
                <a:lnTo>
                  <a:pt x="1329545" y="1953"/>
                </a:lnTo>
                <a:cubicBezTo>
                  <a:pt x="1329545" y="28082"/>
                  <a:pt x="1329545" y="97759"/>
                  <a:pt x="1329545" y="283564"/>
                </a:cubicBezTo>
                <a:cubicBezTo>
                  <a:pt x="1329545" y="283564"/>
                  <a:pt x="1329545" y="283564"/>
                  <a:pt x="1343592" y="295392"/>
                </a:cubicBezTo>
                <a:cubicBezTo>
                  <a:pt x="1343592" y="295392"/>
                  <a:pt x="1343592" y="295392"/>
                  <a:pt x="1334462" y="304066"/>
                </a:cubicBezTo>
                <a:cubicBezTo>
                  <a:pt x="1334462" y="304066"/>
                  <a:pt x="1334462" y="304066"/>
                  <a:pt x="1344294" y="295392"/>
                </a:cubicBezTo>
                <a:cubicBezTo>
                  <a:pt x="1344294" y="295392"/>
                  <a:pt x="1344294" y="295392"/>
                  <a:pt x="1665970" y="570600"/>
                </a:cubicBezTo>
                <a:cubicBezTo>
                  <a:pt x="1665970" y="570600"/>
                  <a:pt x="1665970" y="570600"/>
                  <a:pt x="1665970" y="589526"/>
                </a:cubicBezTo>
                <a:cubicBezTo>
                  <a:pt x="1665970" y="589526"/>
                  <a:pt x="1665970" y="589526"/>
                  <a:pt x="1654030" y="599777"/>
                </a:cubicBezTo>
                <a:cubicBezTo>
                  <a:pt x="1654030" y="599777"/>
                  <a:pt x="1654030" y="599777"/>
                  <a:pt x="1654030" y="587160"/>
                </a:cubicBezTo>
                <a:cubicBezTo>
                  <a:pt x="1654030" y="587160"/>
                  <a:pt x="1654030" y="587160"/>
                  <a:pt x="1332355" y="867888"/>
                </a:cubicBezTo>
                <a:cubicBezTo>
                  <a:pt x="1332355" y="867888"/>
                  <a:pt x="1332355" y="867888"/>
                  <a:pt x="1332355" y="1214067"/>
                </a:cubicBezTo>
                <a:cubicBezTo>
                  <a:pt x="1332355" y="1214067"/>
                  <a:pt x="1332355" y="1214067"/>
                  <a:pt x="1654030" y="933339"/>
                </a:cubicBezTo>
                <a:cubicBezTo>
                  <a:pt x="1654030" y="933339"/>
                  <a:pt x="1654030" y="933339"/>
                  <a:pt x="1654030" y="600566"/>
                </a:cubicBezTo>
                <a:cubicBezTo>
                  <a:pt x="1654030" y="600566"/>
                  <a:pt x="1654030" y="600566"/>
                  <a:pt x="1665970" y="590314"/>
                </a:cubicBezTo>
                <a:cubicBezTo>
                  <a:pt x="1665970" y="590314"/>
                  <a:pt x="1665970" y="590314"/>
                  <a:pt x="1665970" y="938859"/>
                </a:cubicBezTo>
                <a:cubicBezTo>
                  <a:pt x="1665970" y="938859"/>
                  <a:pt x="1665970" y="938859"/>
                  <a:pt x="1998180" y="1221952"/>
                </a:cubicBezTo>
                <a:cubicBezTo>
                  <a:pt x="1998180" y="1221952"/>
                  <a:pt x="1998180" y="1221952"/>
                  <a:pt x="1998180" y="1591788"/>
                </a:cubicBezTo>
                <a:cubicBezTo>
                  <a:pt x="1998180" y="1591788"/>
                  <a:pt x="1998180" y="1591788"/>
                  <a:pt x="1680718" y="1867785"/>
                </a:cubicBezTo>
                <a:cubicBezTo>
                  <a:pt x="1680718" y="1867785"/>
                  <a:pt x="1680718" y="1867785"/>
                  <a:pt x="1680718" y="1851225"/>
                </a:cubicBezTo>
                <a:lnTo>
                  <a:pt x="1986942" y="1585480"/>
                </a:lnTo>
                <a:cubicBezTo>
                  <a:pt x="1986942" y="1585480"/>
                  <a:pt x="1986942" y="1585480"/>
                  <a:pt x="1986942" y="1238512"/>
                </a:cubicBezTo>
                <a:cubicBezTo>
                  <a:pt x="1986942" y="1238512"/>
                  <a:pt x="1986942" y="1238512"/>
                  <a:pt x="1680718" y="1505046"/>
                </a:cubicBezTo>
                <a:cubicBezTo>
                  <a:pt x="1680718" y="1505046"/>
                  <a:pt x="1680718" y="1505046"/>
                  <a:pt x="1680718" y="1488487"/>
                </a:cubicBezTo>
                <a:cubicBezTo>
                  <a:pt x="1680718" y="1488487"/>
                  <a:pt x="1680718" y="1488487"/>
                  <a:pt x="1982728" y="1225107"/>
                </a:cubicBezTo>
                <a:cubicBezTo>
                  <a:pt x="1982728" y="1225107"/>
                  <a:pt x="1982728" y="1225107"/>
                  <a:pt x="1657541" y="947533"/>
                </a:cubicBezTo>
                <a:cubicBezTo>
                  <a:pt x="1657541" y="947533"/>
                  <a:pt x="1657541" y="947533"/>
                  <a:pt x="1333056" y="1230627"/>
                </a:cubicBezTo>
                <a:cubicBezTo>
                  <a:pt x="1333056" y="1230627"/>
                  <a:pt x="1333056" y="1230627"/>
                  <a:pt x="1658244" y="1508201"/>
                </a:cubicBezTo>
                <a:cubicBezTo>
                  <a:pt x="1658244" y="1508201"/>
                  <a:pt x="1658244" y="1508201"/>
                  <a:pt x="1680017" y="1489275"/>
                </a:cubicBezTo>
                <a:cubicBezTo>
                  <a:pt x="1680017" y="1489275"/>
                  <a:pt x="1680017" y="1489275"/>
                  <a:pt x="1680017" y="1505835"/>
                </a:cubicBezTo>
                <a:cubicBezTo>
                  <a:pt x="1680017" y="1505835"/>
                  <a:pt x="1680017" y="1505835"/>
                  <a:pt x="1664565" y="1519240"/>
                </a:cubicBezTo>
                <a:cubicBezTo>
                  <a:pt x="1664565" y="1519240"/>
                  <a:pt x="1664565" y="1519240"/>
                  <a:pt x="1664565" y="1865419"/>
                </a:cubicBezTo>
                <a:cubicBezTo>
                  <a:pt x="1664565" y="1865419"/>
                  <a:pt x="1664565" y="1865419"/>
                  <a:pt x="1680017" y="1852014"/>
                </a:cubicBezTo>
                <a:cubicBezTo>
                  <a:pt x="1680017" y="1852014"/>
                  <a:pt x="1680017" y="1852014"/>
                  <a:pt x="1680017" y="1868573"/>
                </a:cubicBezTo>
                <a:cubicBezTo>
                  <a:pt x="1680017" y="1868573"/>
                  <a:pt x="1680017" y="1868573"/>
                  <a:pt x="1665970" y="1881190"/>
                </a:cubicBezTo>
                <a:cubicBezTo>
                  <a:pt x="1665970" y="1881190"/>
                  <a:pt x="1665970" y="1881190"/>
                  <a:pt x="1665970" y="2058617"/>
                </a:cubicBezTo>
                <a:cubicBezTo>
                  <a:pt x="1665970" y="2058617"/>
                  <a:pt x="1665970" y="2058617"/>
                  <a:pt x="1654030" y="2060194"/>
                </a:cubicBezTo>
                <a:cubicBezTo>
                  <a:pt x="1654030" y="2060194"/>
                  <a:pt x="1654030" y="2060194"/>
                  <a:pt x="1654030" y="1885922"/>
                </a:cubicBezTo>
                <a:cubicBezTo>
                  <a:pt x="1654030" y="1885922"/>
                  <a:pt x="1654030" y="1885922"/>
                  <a:pt x="1484061" y="2034172"/>
                </a:cubicBezTo>
                <a:cubicBezTo>
                  <a:pt x="1484061" y="2034172"/>
                  <a:pt x="1484061" y="2034172"/>
                  <a:pt x="1477038" y="2023920"/>
                </a:cubicBezTo>
                <a:cubicBezTo>
                  <a:pt x="1477038" y="2023920"/>
                  <a:pt x="1477038" y="2023920"/>
                  <a:pt x="1484061" y="2034960"/>
                </a:cubicBezTo>
                <a:cubicBezTo>
                  <a:pt x="1484061" y="2034960"/>
                  <a:pt x="1484061" y="2034960"/>
                  <a:pt x="1332355" y="2166650"/>
                </a:cubicBezTo>
                <a:cubicBezTo>
                  <a:pt x="1332355" y="2166650"/>
                  <a:pt x="1332355" y="2166650"/>
                  <a:pt x="1332355" y="2513617"/>
                </a:cubicBezTo>
                <a:cubicBezTo>
                  <a:pt x="1332355" y="2513617"/>
                  <a:pt x="1332355" y="2513617"/>
                  <a:pt x="1654030" y="2232889"/>
                </a:cubicBezTo>
                <a:cubicBezTo>
                  <a:pt x="1654030" y="2232889"/>
                  <a:pt x="1654030" y="2232889"/>
                  <a:pt x="1654030" y="2060983"/>
                </a:cubicBezTo>
                <a:cubicBezTo>
                  <a:pt x="1654030" y="2060983"/>
                  <a:pt x="1654030" y="2060983"/>
                  <a:pt x="1665970" y="2059405"/>
                </a:cubicBezTo>
                <a:cubicBezTo>
                  <a:pt x="1665970" y="2059405"/>
                  <a:pt x="1665970" y="2059405"/>
                  <a:pt x="1665970" y="2238409"/>
                </a:cubicBezTo>
                <a:cubicBezTo>
                  <a:pt x="1665970" y="2238409"/>
                  <a:pt x="1665970" y="2238409"/>
                  <a:pt x="1881590" y="2422144"/>
                </a:cubicBezTo>
                <a:cubicBezTo>
                  <a:pt x="1881590" y="2422144"/>
                  <a:pt x="1881590" y="2422144"/>
                  <a:pt x="1869650" y="2428452"/>
                </a:cubicBezTo>
                <a:cubicBezTo>
                  <a:pt x="1869650" y="2428452"/>
                  <a:pt x="1869650" y="2428452"/>
                  <a:pt x="1657541" y="2247872"/>
                </a:cubicBezTo>
                <a:cubicBezTo>
                  <a:pt x="1657541" y="2247872"/>
                  <a:pt x="1657541" y="2247872"/>
                  <a:pt x="1333056" y="2530177"/>
                </a:cubicBezTo>
                <a:cubicBezTo>
                  <a:pt x="1333056" y="2530177"/>
                  <a:pt x="1333056" y="2530177"/>
                  <a:pt x="1658244" y="2807751"/>
                </a:cubicBezTo>
                <a:cubicBezTo>
                  <a:pt x="1658244" y="2807751"/>
                  <a:pt x="1658244" y="2807751"/>
                  <a:pt x="1982728" y="2525446"/>
                </a:cubicBezTo>
                <a:cubicBezTo>
                  <a:pt x="1982728" y="2525446"/>
                  <a:pt x="1982728" y="2525446"/>
                  <a:pt x="1870353" y="2429241"/>
                </a:cubicBezTo>
                <a:cubicBezTo>
                  <a:pt x="1870353" y="2429241"/>
                  <a:pt x="1870353" y="2429241"/>
                  <a:pt x="1882293" y="2422933"/>
                </a:cubicBezTo>
                <a:cubicBezTo>
                  <a:pt x="1882293" y="2422933"/>
                  <a:pt x="1882293" y="2422933"/>
                  <a:pt x="1998180" y="2522291"/>
                </a:cubicBezTo>
                <a:cubicBezTo>
                  <a:pt x="1998180" y="2522291"/>
                  <a:pt x="1998180" y="2522291"/>
                  <a:pt x="1998180" y="2773054"/>
                </a:cubicBezTo>
                <a:cubicBezTo>
                  <a:pt x="1998180" y="2773054"/>
                  <a:pt x="1998180" y="2773054"/>
                  <a:pt x="1986942" y="2778574"/>
                </a:cubicBezTo>
                <a:cubicBezTo>
                  <a:pt x="1986942" y="2778574"/>
                  <a:pt x="1986942" y="2778574"/>
                  <a:pt x="1986942" y="2538851"/>
                </a:cubicBezTo>
                <a:cubicBezTo>
                  <a:pt x="1986942" y="2538851"/>
                  <a:pt x="1986942" y="2538851"/>
                  <a:pt x="1664565" y="2819579"/>
                </a:cubicBezTo>
                <a:cubicBezTo>
                  <a:pt x="1664565" y="2819579"/>
                  <a:pt x="1664565" y="2819579"/>
                  <a:pt x="1664565" y="3165758"/>
                </a:cubicBezTo>
                <a:cubicBezTo>
                  <a:pt x="1664565" y="3165758"/>
                  <a:pt x="1664565" y="3165758"/>
                  <a:pt x="1986942" y="2885030"/>
                </a:cubicBezTo>
                <a:cubicBezTo>
                  <a:pt x="1986942" y="2885030"/>
                  <a:pt x="1986942" y="2885030"/>
                  <a:pt x="1986942" y="2779363"/>
                </a:cubicBezTo>
                <a:cubicBezTo>
                  <a:pt x="1986942" y="2779363"/>
                  <a:pt x="1986942" y="2779363"/>
                  <a:pt x="1998180" y="2773843"/>
                </a:cubicBezTo>
                <a:cubicBezTo>
                  <a:pt x="1998180" y="2773843"/>
                  <a:pt x="1998180" y="2773843"/>
                  <a:pt x="1998180" y="2891339"/>
                </a:cubicBezTo>
                <a:cubicBezTo>
                  <a:pt x="1998180" y="2891339"/>
                  <a:pt x="1998180" y="2891339"/>
                  <a:pt x="1658946" y="3187049"/>
                </a:cubicBezTo>
                <a:cubicBezTo>
                  <a:pt x="1658946" y="3187049"/>
                  <a:pt x="1658946" y="3187049"/>
                  <a:pt x="1321116" y="2899224"/>
                </a:cubicBezTo>
                <a:cubicBezTo>
                  <a:pt x="1321116" y="2899224"/>
                  <a:pt x="1321116" y="2899224"/>
                  <a:pt x="1240347" y="2969406"/>
                </a:cubicBezTo>
                <a:cubicBezTo>
                  <a:pt x="1240347" y="2969406"/>
                  <a:pt x="1240347" y="2969406"/>
                  <a:pt x="997334" y="3180741"/>
                </a:cubicBezTo>
                <a:cubicBezTo>
                  <a:pt x="997334" y="3180741"/>
                  <a:pt x="997334" y="3180741"/>
                  <a:pt x="997334" y="3519034"/>
                </a:cubicBezTo>
                <a:cubicBezTo>
                  <a:pt x="997334" y="3519034"/>
                  <a:pt x="997334" y="3519034"/>
                  <a:pt x="985394" y="3519034"/>
                </a:cubicBezTo>
                <a:cubicBezTo>
                  <a:pt x="985394" y="3519034"/>
                  <a:pt x="985394" y="3519034"/>
                  <a:pt x="985394" y="3500109"/>
                </a:cubicBezTo>
                <a:cubicBezTo>
                  <a:pt x="985394" y="3500109"/>
                  <a:pt x="985394" y="3500109"/>
                  <a:pt x="985394" y="3186261"/>
                </a:cubicBezTo>
                <a:cubicBezTo>
                  <a:pt x="985394" y="3186261"/>
                  <a:pt x="985394" y="3186261"/>
                  <a:pt x="663017" y="3466989"/>
                </a:cubicBezTo>
                <a:cubicBezTo>
                  <a:pt x="663017" y="3466989"/>
                  <a:pt x="663017" y="3466989"/>
                  <a:pt x="663017" y="3495377"/>
                </a:cubicBezTo>
                <a:cubicBezTo>
                  <a:pt x="663017" y="3495377"/>
                  <a:pt x="663017" y="3495377"/>
                  <a:pt x="663017" y="3812379"/>
                </a:cubicBezTo>
                <a:cubicBezTo>
                  <a:pt x="663017" y="3812379"/>
                  <a:pt x="663017" y="3812379"/>
                  <a:pt x="985394" y="3532439"/>
                </a:cubicBezTo>
                <a:cubicBezTo>
                  <a:pt x="985394" y="3532439"/>
                  <a:pt x="985394" y="3532439"/>
                  <a:pt x="985394" y="3519822"/>
                </a:cubicBezTo>
                <a:cubicBezTo>
                  <a:pt x="985394" y="3519822"/>
                  <a:pt x="985394" y="3519822"/>
                  <a:pt x="997334" y="3519822"/>
                </a:cubicBezTo>
                <a:cubicBezTo>
                  <a:pt x="997334" y="3519822"/>
                  <a:pt x="997334" y="3519822"/>
                  <a:pt x="997334" y="3531651"/>
                </a:cubicBezTo>
                <a:cubicBezTo>
                  <a:pt x="997334" y="3531651"/>
                  <a:pt x="997334" y="3531651"/>
                  <a:pt x="1011381" y="3543479"/>
                </a:cubicBezTo>
                <a:cubicBezTo>
                  <a:pt x="1011381" y="3543479"/>
                  <a:pt x="1011381" y="3543479"/>
                  <a:pt x="1002251" y="3552154"/>
                </a:cubicBezTo>
                <a:cubicBezTo>
                  <a:pt x="1002251" y="3552154"/>
                  <a:pt x="1002251" y="3552154"/>
                  <a:pt x="1012084" y="3544268"/>
                </a:cubicBezTo>
                <a:cubicBezTo>
                  <a:pt x="1012084" y="3544268"/>
                  <a:pt x="1012084" y="3544268"/>
                  <a:pt x="1333759" y="3818688"/>
                </a:cubicBezTo>
                <a:cubicBezTo>
                  <a:pt x="1333759" y="3818688"/>
                  <a:pt x="1333759" y="3818688"/>
                  <a:pt x="1333759" y="3838402"/>
                </a:cubicBezTo>
                <a:cubicBezTo>
                  <a:pt x="1333759" y="3838402"/>
                  <a:pt x="1333759" y="3838402"/>
                  <a:pt x="1321819" y="3848653"/>
                </a:cubicBezTo>
                <a:cubicBezTo>
                  <a:pt x="1321819" y="3848653"/>
                  <a:pt x="1321819" y="3848653"/>
                  <a:pt x="1321819" y="3835248"/>
                </a:cubicBezTo>
                <a:cubicBezTo>
                  <a:pt x="1321819" y="3835248"/>
                  <a:pt x="1321819" y="3835248"/>
                  <a:pt x="999441" y="4115975"/>
                </a:cubicBezTo>
                <a:cubicBezTo>
                  <a:pt x="999441" y="4115975"/>
                  <a:pt x="999441" y="4115975"/>
                  <a:pt x="999441" y="4462154"/>
                </a:cubicBezTo>
                <a:cubicBezTo>
                  <a:pt x="999441" y="4462154"/>
                  <a:pt x="999441" y="4462154"/>
                  <a:pt x="1321819" y="4182215"/>
                </a:cubicBezTo>
                <a:cubicBezTo>
                  <a:pt x="1321819" y="4182215"/>
                  <a:pt x="1321819" y="4182215"/>
                  <a:pt x="1321819" y="3849441"/>
                </a:cubicBezTo>
                <a:cubicBezTo>
                  <a:pt x="1321819" y="3849441"/>
                  <a:pt x="1321819" y="3849441"/>
                  <a:pt x="1333759" y="3839190"/>
                </a:cubicBezTo>
                <a:cubicBezTo>
                  <a:pt x="1333759" y="3839190"/>
                  <a:pt x="1333759" y="3839190"/>
                  <a:pt x="1333759" y="4186946"/>
                </a:cubicBezTo>
                <a:cubicBezTo>
                  <a:pt x="1333759" y="4186946"/>
                  <a:pt x="1333759" y="4186946"/>
                  <a:pt x="1665970" y="4470828"/>
                </a:cubicBezTo>
                <a:cubicBezTo>
                  <a:pt x="1665970" y="4470828"/>
                  <a:pt x="1665970" y="4470828"/>
                  <a:pt x="1665970" y="4839875"/>
                </a:cubicBezTo>
                <a:cubicBezTo>
                  <a:pt x="1665970" y="4839875"/>
                  <a:pt x="1665970" y="4839875"/>
                  <a:pt x="1348509" y="5116661"/>
                </a:cubicBezTo>
                <a:cubicBezTo>
                  <a:pt x="1348509" y="5116661"/>
                  <a:pt x="1348509" y="5116661"/>
                  <a:pt x="1348509" y="5100101"/>
                </a:cubicBezTo>
                <a:cubicBezTo>
                  <a:pt x="1348509" y="5100101"/>
                  <a:pt x="1348509" y="5100101"/>
                  <a:pt x="1654030" y="4833567"/>
                </a:cubicBezTo>
                <a:cubicBezTo>
                  <a:pt x="1654030" y="4833567"/>
                  <a:pt x="1654030" y="4833567"/>
                  <a:pt x="1654030" y="4487388"/>
                </a:cubicBezTo>
                <a:cubicBezTo>
                  <a:pt x="1654030" y="4487388"/>
                  <a:pt x="1654030" y="4487388"/>
                  <a:pt x="1348509" y="4753134"/>
                </a:cubicBezTo>
                <a:cubicBezTo>
                  <a:pt x="1348509" y="4753134"/>
                  <a:pt x="1348509" y="4753134"/>
                  <a:pt x="1348509" y="4737362"/>
                </a:cubicBezTo>
                <a:cubicBezTo>
                  <a:pt x="1348509" y="4737362"/>
                  <a:pt x="1348509" y="4737362"/>
                  <a:pt x="1650518" y="4473983"/>
                </a:cubicBezTo>
                <a:cubicBezTo>
                  <a:pt x="1650518" y="4473983"/>
                  <a:pt x="1650518" y="4473983"/>
                  <a:pt x="1325331" y="4196409"/>
                </a:cubicBezTo>
                <a:cubicBezTo>
                  <a:pt x="1325331" y="4196409"/>
                  <a:pt x="1325331" y="4196409"/>
                  <a:pt x="1000847" y="4478714"/>
                </a:cubicBezTo>
                <a:cubicBezTo>
                  <a:pt x="1000847" y="4478714"/>
                  <a:pt x="1000847" y="4478714"/>
                  <a:pt x="1326033" y="4756288"/>
                </a:cubicBezTo>
                <a:cubicBezTo>
                  <a:pt x="1326033" y="4756288"/>
                  <a:pt x="1326033" y="4756288"/>
                  <a:pt x="1347806" y="4737362"/>
                </a:cubicBezTo>
                <a:cubicBezTo>
                  <a:pt x="1347806" y="4737362"/>
                  <a:pt x="1347806" y="4737362"/>
                  <a:pt x="1347806" y="4753922"/>
                </a:cubicBezTo>
                <a:cubicBezTo>
                  <a:pt x="1347806" y="4753922"/>
                  <a:pt x="1347806" y="4753922"/>
                  <a:pt x="1331652" y="4768116"/>
                </a:cubicBezTo>
                <a:cubicBezTo>
                  <a:pt x="1331652" y="4768116"/>
                  <a:pt x="1331652" y="4768116"/>
                  <a:pt x="1331652" y="5114295"/>
                </a:cubicBezTo>
                <a:cubicBezTo>
                  <a:pt x="1331652" y="5114295"/>
                  <a:pt x="1331652" y="5114295"/>
                  <a:pt x="1347806" y="5100101"/>
                </a:cubicBezTo>
                <a:cubicBezTo>
                  <a:pt x="1347806" y="5100101"/>
                  <a:pt x="1347806" y="5100101"/>
                  <a:pt x="1347806" y="5116661"/>
                </a:cubicBezTo>
                <a:cubicBezTo>
                  <a:pt x="1347806" y="5116661"/>
                  <a:pt x="1347806" y="5116661"/>
                  <a:pt x="1333759" y="5129278"/>
                </a:cubicBezTo>
                <a:cubicBezTo>
                  <a:pt x="1333759" y="5129278"/>
                  <a:pt x="1333759" y="5129278"/>
                  <a:pt x="1333759" y="5306704"/>
                </a:cubicBezTo>
                <a:cubicBezTo>
                  <a:pt x="1333759" y="5306704"/>
                  <a:pt x="1333759" y="5306704"/>
                  <a:pt x="1321819" y="5309070"/>
                </a:cubicBezTo>
                <a:cubicBezTo>
                  <a:pt x="1321819" y="5309070"/>
                  <a:pt x="1321819" y="5309070"/>
                  <a:pt x="1321819" y="5134798"/>
                </a:cubicBezTo>
                <a:cubicBezTo>
                  <a:pt x="1321819" y="5134798"/>
                  <a:pt x="1321819" y="5134798"/>
                  <a:pt x="1151851" y="5283047"/>
                </a:cubicBezTo>
                <a:cubicBezTo>
                  <a:pt x="1151851" y="5283047"/>
                  <a:pt x="1151851" y="5283047"/>
                  <a:pt x="1144827" y="5272008"/>
                </a:cubicBezTo>
                <a:cubicBezTo>
                  <a:pt x="1144827" y="5272008"/>
                  <a:pt x="1144827" y="5272008"/>
                  <a:pt x="1314093" y="5125335"/>
                </a:cubicBezTo>
                <a:cubicBezTo>
                  <a:pt x="1314093" y="5125335"/>
                  <a:pt x="1314093" y="5125335"/>
                  <a:pt x="988907" y="4847761"/>
                </a:cubicBezTo>
                <a:cubicBezTo>
                  <a:pt x="988907" y="4847761"/>
                  <a:pt x="988907" y="4847761"/>
                  <a:pt x="913053" y="4913212"/>
                </a:cubicBezTo>
                <a:cubicBezTo>
                  <a:pt x="913053" y="4913212"/>
                  <a:pt x="913053" y="4913212"/>
                  <a:pt x="668636" y="5126124"/>
                </a:cubicBezTo>
                <a:cubicBezTo>
                  <a:pt x="668636" y="5126124"/>
                  <a:pt x="668636" y="5126124"/>
                  <a:pt x="993823" y="5403697"/>
                </a:cubicBezTo>
                <a:cubicBezTo>
                  <a:pt x="993823" y="5403697"/>
                  <a:pt x="993823" y="5403697"/>
                  <a:pt x="1144827" y="5272796"/>
                </a:cubicBezTo>
                <a:cubicBezTo>
                  <a:pt x="1144827" y="5272796"/>
                  <a:pt x="1144827" y="5272796"/>
                  <a:pt x="1151149" y="5283047"/>
                </a:cubicBezTo>
                <a:cubicBezTo>
                  <a:pt x="1151149" y="5283047"/>
                  <a:pt x="1151149" y="5283047"/>
                  <a:pt x="999441" y="5415526"/>
                </a:cubicBezTo>
                <a:cubicBezTo>
                  <a:pt x="999441" y="5415526"/>
                  <a:pt x="999441" y="5415526"/>
                  <a:pt x="999441" y="5761705"/>
                </a:cubicBezTo>
                <a:cubicBezTo>
                  <a:pt x="999441" y="5761705"/>
                  <a:pt x="999441" y="5761705"/>
                  <a:pt x="1321819" y="5480976"/>
                </a:cubicBezTo>
                <a:cubicBezTo>
                  <a:pt x="1321819" y="5480976"/>
                  <a:pt x="1321819" y="5480976"/>
                  <a:pt x="1321819" y="5309858"/>
                </a:cubicBezTo>
                <a:cubicBezTo>
                  <a:pt x="1321819" y="5309858"/>
                  <a:pt x="1321819" y="5309858"/>
                  <a:pt x="1333759" y="5307493"/>
                </a:cubicBezTo>
                <a:cubicBezTo>
                  <a:pt x="1333759" y="5307493"/>
                  <a:pt x="1333759" y="5307493"/>
                  <a:pt x="1333759" y="5487285"/>
                </a:cubicBezTo>
                <a:cubicBezTo>
                  <a:pt x="1333759" y="5487285"/>
                  <a:pt x="1333759" y="5487285"/>
                  <a:pt x="1549380" y="5671020"/>
                </a:cubicBezTo>
                <a:cubicBezTo>
                  <a:pt x="1549380" y="5671020"/>
                  <a:pt x="1549380" y="5671020"/>
                  <a:pt x="1665970" y="5770379"/>
                </a:cubicBezTo>
                <a:cubicBezTo>
                  <a:pt x="1665970" y="5770379"/>
                  <a:pt x="1665970" y="5770379"/>
                  <a:pt x="1665970" y="6021141"/>
                </a:cubicBezTo>
                <a:cubicBezTo>
                  <a:pt x="1665970" y="6021141"/>
                  <a:pt x="1665970" y="6021141"/>
                  <a:pt x="1654030" y="6026661"/>
                </a:cubicBezTo>
                <a:cubicBezTo>
                  <a:pt x="1654030" y="6026661"/>
                  <a:pt x="1654030" y="6026661"/>
                  <a:pt x="1654030" y="5786939"/>
                </a:cubicBezTo>
                <a:cubicBezTo>
                  <a:pt x="1654030" y="5786939"/>
                  <a:pt x="1654030" y="5786939"/>
                  <a:pt x="1331652" y="6067667"/>
                </a:cubicBezTo>
                <a:cubicBezTo>
                  <a:pt x="1331652" y="6067667"/>
                  <a:pt x="1331652" y="6067667"/>
                  <a:pt x="1331652" y="6413845"/>
                </a:cubicBezTo>
                <a:cubicBezTo>
                  <a:pt x="1331652" y="6413845"/>
                  <a:pt x="1331652" y="6413845"/>
                  <a:pt x="1654030" y="6133906"/>
                </a:cubicBezTo>
                <a:cubicBezTo>
                  <a:pt x="1654030" y="6133906"/>
                  <a:pt x="1654030" y="6133906"/>
                  <a:pt x="1654030" y="6027450"/>
                </a:cubicBezTo>
                <a:cubicBezTo>
                  <a:pt x="1654030" y="6027450"/>
                  <a:pt x="1654030" y="6027450"/>
                  <a:pt x="1665970" y="6021930"/>
                </a:cubicBezTo>
                <a:cubicBezTo>
                  <a:pt x="1665970" y="6021930"/>
                  <a:pt x="1665970" y="6021930"/>
                  <a:pt x="1665970" y="6140214"/>
                </a:cubicBezTo>
                <a:cubicBezTo>
                  <a:pt x="1665970" y="6140214"/>
                  <a:pt x="1665970" y="6140214"/>
                  <a:pt x="1326033" y="6435925"/>
                </a:cubicBezTo>
                <a:cubicBezTo>
                  <a:pt x="1326033" y="6435925"/>
                  <a:pt x="1326033" y="6435925"/>
                  <a:pt x="988907" y="6147311"/>
                </a:cubicBezTo>
                <a:cubicBezTo>
                  <a:pt x="988907" y="6147311"/>
                  <a:pt x="988907" y="6147311"/>
                  <a:pt x="908136" y="6217493"/>
                </a:cubicBezTo>
                <a:cubicBezTo>
                  <a:pt x="908136" y="6217493"/>
                  <a:pt x="908136" y="6217493"/>
                  <a:pt x="901815" y="6206454"/>
                </a:cubicBezTo>
                <a:cubicBezTo>
                  <a:pt x="901815" y="6206454"/>
                  <a:pt x="901815" y="6206454"/>
                  <a:pt x="907434" y="6218282"/>
                </a:cubicBezTo>
                <a:cubicBezTo>
                  <a:pt x="907434" y="6218282"/>
                  <a:pt x="907434" y="6218282"/>
                  <a:pt x="665124" y="6429617"/>
                </a:cubicBezTo>
                <a:cubicBezTo>
                  <a:pt x="665124" y="6429617"/>
                  <a:pt x="665124" y="6429617"/>
                  <a:pt x="665124" y="6784470"/>
                </a:cubicBezTo>
                <a:cubicBezTo>
                  <a:pt x="665124" y="6784470"/>
                  <a:pt x="665124" y="6784470"/>
                  <a:pt x="722014" y="6833040"/>
                </a:cubicBezTo>
                <a:lnTo>
                  <a:pt x="751249" y="6858000"/>
                </a:lnTo>
                <a:lnTo>
                  <a:pt x="5305156" y="6858000"/>
                </a:lnTo>
                <a:close/>
              </a:path>
            </a:pathLst>
          </a:custGeom>
          <a:solidFill>
            <a:schemeClr val="bg1">
              <a:lumMod val="65000"/>
            </a:schemeClr>
          </a:solidFill>
        </p:spPr>
        <p:txBody>
          <a:bodyPr wrap="square" tIns="540000" rIns="540000">
            <a:noAutofit/>
          </a:bodyPr>
          <a:lstStyle>
            <a:lvl1pPr algn="r">
              <a:defRPr>
                <a:solidFill>
                  <a:schemeClr val="accent2">
                    <a:lumMod val="40000"/>
                    <a:lumOff val="60000"/>
                  </a:schemeClr>
                </a:solidFill>
              </a:defRPr>
            </a:lvl1pPr>
          </a:lstStyle>
          <a:p>
            <a:r>
              <a:rPr lang="fr-FR" dirty="0"/>
              <a:t>Insérez ou glissez votre image ici</a:t>
            </a:r>
          </a:p>
        </p:txBody>
      </p:sp>
      <p:sp>
        <p:nvSpPr>
          <p:cNvPr id="8" name="Rectangle 7">
            <a:extLst>
              <a:ext uri="{FF2B5EF4-FFF2-40B4-BE49-F238E27FC236}">
                <a16:creationId xmlns:a16="http://schemas.microsoft.com/office/drawing/2014/main" id="{0F05E3D2-1467-BBD4-EE19-55F1FF901071}"/>
              </a:ext>
            </a:extLst>
          </p:cNvPr>
          <p:cNvSpPr/>
          <p:nvPr userDrawn="1"/>
        </p:nvSpPr>
        <p:spPr>
          <a:xfrm>
            <a:off x="5377543" y="2372453"/>
            <a:ext cx="3766457"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81000" rIns="108000" bIns="108000" rtlCol="0" anchor="ctr">
            <a:spAutoFit/>
          </a:bodyPr>
          <a:lstStyle/>
          <a:p>
            <a:pPr algn="ctr"/>
            <a:endParaRPr lang="fr-FR" sz="1350" dirty="0"/>
          </a:p>
        </p:txBody>
      </p:sp>
      <p:sp>
        <p:nvSpPr>
          <p:cNvPr id="4" name="Espace réservé de la date 3">
            <a:extLst>
              <a:ext uri="{FF2B5EF4-FFF2-40B4-BE49-F238E27FC236}">
                <a16:creationId xmlns:a16="http://schemas.microsoft.com/office/drawing/2014/main" id="{E1C2B0A2-D20B-4AF8-11A0-04ADF7A00166}"/>
              </a:ext>
            </a:extLst>
          </p:cNvPr>
          <p:cNvSpPr>
            <a:spLocks noGrp="1"/>
          </p:cNvSpPr>
          <p:nvPr>
            <p:ph type="dt" sz="half" idx="10"/>
          </p:nvPr>
        </p:nvSpPr>
        <p:spPr/>
        <p:txBody>
          <a:bodyPr/>
          <a:lstStyle/>
          <a:p>
            <a:r>
              <a:rPr lang="fr-FR"/>
              <a:t>28/10/2022</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 contenu</a:t>
            </a:r>
          </a:p>
          <a:p>
            <a:endParaRPr lang="fr-FR" sz="900" dirty="0">
              <a:solidFill>
                <a:schemeClr val="bg1">
                  <a:lumMod val="50000"/>
                </a:schemeClr>
              </a:solidFill>
            </a:endParaRPr>
          </a:p>
        </p:txBody>
      </p:sp>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a:xfrm>
            <a:off x="4110688" y="1035844"/>
            <a:ext cx="4484435" cy="339923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Titre 10">
            <a:extLst>
              <a:ext uri="{FF2B5EF4-FFF2-40B4-BE49-F238E27FC236}">
                <a16:creationId xmlns:a16="http://schemas.microsoft.com/office/drawing/2014/main" id="{E8A77A76-28CB-5629-14F2-37B56A986D79}"/>
              </a:ext>
            </a:extLst>
          </p:cNvPr>
          <p:cNvSpPr>
            <a:spLocks noGrp="1"/>
          </p:cNvSpPr>
          <p:nvPr>
            <p:ph type="title"/>
          </p:nvPr>
        </p:nvSpPr>
        <p:spPr>
          <a:xfrm>
            <a:off x="4112791" y="235528"/>
            <a:ext cx="4482331" cy="653870"/>
          </a:xfrm>
        </p:spPr>
        <p:txBody>
          <a:bodyPr/>
          <a:lstStyle>
            <a:lvl1pPr>
              <a:defRPr>
                <a:solidFill>
                  <a:schemeClr val="tx2"/>
                </a:solidFill>
              </a:defRPr>
            </a:lvl1pPr>
          </a:lstStyle>
          <a:p>
            <a:r>
              <a:rPr lang="fr-FR"/>
              <a:t>Modifiez le style du titre</a:t>
            </a:r>
            <a:endParaRPr lang="fr-FR" dirty="0"/>
          </a:p>
        </p:txBody>
      </p:sp>
      <p:sp>
        <p:nvSpPr>
          <p:cNvPr id="5" name="Espace réservé du pied de page 4">
            <a:extLst>
              <a:ext uri="{FF2B5EF4-FFF2-40B4-BE49-F238E27FC236}">
                <a16:creationId xmlns:a16="http://schemas.microsoft.com/office/drawing/2014/main" id="{E674BCD5-99F2-142E-3FEE-1ACCB474B9C4}"/>
              </a:ext>
            </a:extLst>
          </p:cNvPr>
          <p:cNvSpPr>
            <a:spLocks noGrp="1"/>
          </p:cNvSpPr>
          <p:nvPr>
            <p:ph type="ftr" sz="quarter" idx="11"/>
          </p:nvPr>
        </p:nvSpPr>
        <p:spPr/>
        <p:txBody>
          <a:bodyPr/>
          <a:lstStyle/>
          <a:p>
            <a:r>
              <a:rPr lang="fr-FR"/>
              <a:t>Exemple de pied de page (A modifier dans l'onglet "Insertion"/"En-tête/Pied"</a:t>
            </a:r>
          </a:p>
        </p:txBody>
      </p:sp>
    </p:spTree>
    <p:extLst>
      <p:ext uri="{BB962C8B-B14F-4D97-AF65-F5344CB8AC3E}">
        <p14:creationId xmlns:p14="http://schemas.microsoft.com/office/powerpoint/2010/main" val="3812183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Visuel haut + contenu">
    <p:spTree>
      <p:nvGrpSpPr>
        <p:cNvPr id="1" name=""/>
        <p:cNvGrpSpPr/>
        <p:nvPr/>
      </p:nvGrpSpPr>
      <p:grpSpPr>
        <a:xfrm>
          <a:off x="0" y="0"/>
          <a:ext cx="0" cy="0"/>
          <a:chOff x="0" y="0"/>
          <a:chExt cx="0" cy="0"/>
        </a:xfrm>
      </p:grpSpPr>
      <p:sp>
        <p:nvSpPr>
          <p:cNvPr id="14" name="Espace réservé pour une image  28">
            <a:extLst>
              <a:ext uri="{FF2B5EF4-FFF2-40B4-BE49-F238E27FC236}">
                <a16:creationId xmlns:a16="http://schemas.microsoft.com/office/drawing/2014/main" id="{DCB96DEF-5249-666B-576F-70AC92D06638}"/>
              </a:ext>
            </a:extLst>
          </p:cNvPr>
          <p:cNvSpPr>
            <a:spLocks noGrp="1"/>
          </p:cNvSpPr>
          <p:nvPr>
            <p:ph type="pic" sz="quarter" idx="13" hasCustomPrompt="1"/>
          </p:nvPr>
        </p:nvSpPr>
        <p:spPr>
          <a:xfrm flipH="1">
            <a:off x="-26655" y="-20807"/>
            <a:ext cx="9094454" cy="1806281"/>
          </a:xfrm>
          <a:custGeom>
            <a:avLst/>
            <a:gdLst>
              <a:gd name="connsiteX0" fmla="*/ 738225 w 5957423"/>
              <a:gd name="connsiteY0" fmla="*/ 6793932 h 6858000"/>
              <a:gd name="connsiteX1" fmla="*/ 814828 w 5957423"/>
              <a:gd name="connsiteY1" fmla="*/ 6852286 h 6858000"/>
              <a:gd name="connsiteX2" fmla="*/ 822329 w 5957423"/>
              <a:gd name="connsiteY2" fmla="*/ 6858000 h 6858000"/>
              <a:gd name="connsiteX3" fmla="*/ 655724 w 5957423"/>
              <a:gd name="connsiteY3" fmla="*/ 6858000 h 6858000"/>
              <a:gd name="connsiteX4" fmla="*/ 656989 w 5957423"/>
              <a:gd name="connsiteY4" fmla="*/ 6857017 h 6858000"/>
              <a:gd name="connsiteX5" fmla="*/ 738225 w 5957423"/>
              <a:gd name="connsiteY5" fmla="*/ 6793932 h 6858000"/>
              <a:gd name="connsiteX6" fmla="*/ 733493 w 5957423"/>
              <a:gd name="connsiteY6" fmla="*/ 6434348 h 6858000"/>
              <a:gd name="connsiteX7" fmla="*/ 733493 w 5957423"/>
              <a:gd name="connsiteY7" fmla="*/ 6780527 h 6858000"/>
              <a:gd name="connsiteX8" fmla="*/ 639637 w 5957423"/>
              <a:gd name="connsiteY8" fmla="*/ 6853075 h 6858000"/>
              <a:gd name="connsiteX9" fmla="*/ 656989 w 5957423"/>
              <a:gd name="connsiteY9" fmla="*/ 6857017 h 6858000"/>
              <a:gd name="connsiteX10" fmla="*/ 638848 w 5957423"/>
              <a:gd name="connsiteY10" fmla="*/ 6853863 h 6858000"/>
              <a:gd name="connsiteX11" fmla="*/ 633515 w 5957423"/>
              <a:gd name="connsiteY11" fmla="*/ 6858000 h 6858000"/>
              <a:gd name="connsiteX12" fmla="*/ 371479 w 5957423"/>
              <a:gd name="connsiteY12" fmla="*/ 6858000 h 6858000"/>
              <a:gd name="connsiteX13" fmla="*/ 371479 w 5957423"/>
              <a:gd name="connsiteY13" fmla="*/ 6799592 h 6858000"/>
              <a:gd name="connsiteX14" fmla="*/ 371479 w 5957423"/>
              <a:gd name="connsiteY14" fmla="*/ 6715076 h 6858000"/>
              <a:gd name="connsiteX15" fmla="*/ 733493 w 5957423"/>
              <a:gd name="connsiteY15" fmla="*/ 6434348 h 6858000"/>
              <a:gd name="connsiteX16" fmla="*/ 1106548 w 5957423"/>
              <a:gd name="connsiteY16" fmla="*/ 5786939 h 6858000"/>
              <a:gd name="connsiteX17" fmla="*/ 1106548 w 5957423"/>
              <a:gd name="connsiteY17" fmla="*/ 6133906 h 6858000"/>
              <a:gd name="connsiteX18" fmla="*/ 1012693 w 5957423"/>
              <a:gd name="connsiteY18" fmla="*/ 6206454 h 6858000"/>
              <a:gd name="connsiteX19" fmla="*/ 744534 w 5957423"/>
              <a:gd name="connsiteY19" fmla="*/ 6413845 h 6858000"/>
              <a:gd name="connsiteX20" fmla="*/ 744534 w 5957423"/>
              <a:gd name="connsiteY20" fmla="*/ 6067667 h 6858000"/>
              <a:gd name="connsiteX21" fmla="*/ 873093 w 5957423"/>
              <a:gd name="connsiteY21" fmla="*/ 5968308 h 6858000"/>
              <a:gd name="connsiteX22" fmla="*/ 1106548 w 5957423"/>
              <a:gd name="connsiteY22" fmla="*/ 5786939 h 6858000"/>
              <a:gd name="connsiteX23" fmla="*/ 1739875 w 5957423"/>
              <a:gd name="connsiteY23" fmla="*/ 5671020 h 6858000"/>
              <a:gd name="connsiteX24" fmla="*/ 1726467 w 5957423"/>
              <a:gd name="connsiteY24" fmla="*/ 5677328 h 6858000"/>
              <a:gd name="connsiteX25" fmla="*/ 1739875 w 5957423"/>
              <a:gd name="connsiteY25" fmla="*/ 5671020 h 6858000"/>
              <a:gd name="connsiteX26" fmla="*/ 1488280 w 5957423"/>
              <a:gd name="connsiteY26" fmla="*/ 5495959 h 6858000"/>
              <a:gd name="connsiteX27" fmla="*/ 1726467 w 5957423"/>
              <a:gd name="connsiteY27" fmla="*/ 5677328 h 6858000"/>
              <a:gd name="connsiteX28" fmla="*/ 1853448 w 5957423"/>
              <a:gd name="connsiteY28" fmla="*/ 5773533 h 6858000"/>
              <a:gd name="connsiteX29" fmla="*/ 1489068 w 5957423"/>
              <a:gd name="connsiteY29" fmla="*/ 6056627 h 6858000"/>
              <a:gd name="connsiteX30" fmla="*/ 1123900 w 5957423"/>
              <a:gd name="connsiteY30" fmla="*/ 5779053 h 6858000"/>
              <a:gd name="connsiteX31" fmla="*/ 1488280 w 5957423"/>
              <a:gd name="connsiteY31" fmla="*/ 5495959 h 6858000"/>
              <a:gd name="connsiteX32" fmla="*/ 359648 w 5957423"/>
              <a:gd name="connsiteY32" fmla="*/ 4847761 h 6858000"/>
              <a:gd name="connsiteX33" fmla="*/ 724817 w 5957423"/>
              <a:gd name="connsiteY33" fmla="*/ 5125335 h 6858000"/>
              <a:gd name="connsiteX34" fmla="*/ 487418 w 5957423"/>
              <a:gd name="connsiteY34" fmla="*/ 5309070 h 6858000"/>
              <a:gd name="connsiteX35" fmla="*/ 493727 w 5957423"/>
              <a:gd name="connsiteY35" fmla="*/ 5320110 h 6858000"/>
              <a:gd name="connsiteX36" fmla="*/ 733493 w 5957423"/>
              <a:gd name="connsiteY36" fmla="*/ 5134798 h 6858000"/>
              <a:gd name="connsiteX37" fmla="*/ 733493 w 5957423"/>
              <a:gd name="connsiteY37" fmla="*/ 5480976 h 6858000"/>
              <a:gd name="connsiteX38" fmla="*/ 633328 w 5957423"/>
              <a:gd name="connsiteY38" fmla="*/ 5558256 h 6858000"/>
              <a:gd name="connsiteX39" fmla="*/ 641215 w 5957423"/>
              <a:gd name="connsiteY39" fmla="*/ 5570873 h 6858000"/>
              <a:gd name="connsiteX40" fmla="*/ 737436 w 5957423"/>
              <a:gd name="connsiteY40" fmla="*/ 5495959 h 6858000"/>
              <a:gd name="connsiteX41" fmla="*/ 1102605 w 5957423"/>
              <a:gd name="connsiteY41" fmla="*/ 5773533 h 6858000"/>
              <a:gd name="connsiteX42" fmla="*/ 866783 w 5957423"/>
              <a:gd name="connsiteY42" fmla="*/ 5956479 h 6858000"/>
              <a:gd name="connsiteX43" fmla="*/ 873093 w 5957423"/>
              <a:gd name="connsiteY43" fmla="*/ 5968308 h 6858000"/>
              <a:gd name="connsiteX44" fmla="*/ 865994 w 5957423"/>
              <a:gd name="connsiteY44" fmla="*/ 5957268 h 6858000"/>
              <a:gd name="connsiteX45" fmla="*/ 738225 w 5957423"/>
              <a:gd name="connsiteY45" fmla="*/ 6056627 h 6858000"/>
              <a:gd name="connsiteX46" fmla="*/ 373056 w 5957423"/>
              <a:gd name="connsiteY46" fmla="*/ 5779053 h 6858000"/>
              <a:gd name="connsiteX47" fmla="*/ 640426 w 5957423"/>
              <a:gd name="connsiteY47" fmla="*/ 5571661 h 6858000"/>
              <a:gd name="connsiteX48" fmla="*/ 633328 w 5957423"/>
              <a:gd name="connsiteY48" fmla="*/ 5559044 h 6858000"/>
              <a:gd name="connsiteX49" fmla="*/ 371479 w 5957423"/>
              <a:gd name="connsiteY49" fmla="*/ 5761705 h 6858000"/>
              <a:gd name="connsiteX50" fmla="*/ 371479 w 5957423"/>
              <a:gd name="connsiteY50" fmla="*/ 5415526 h 6858000"/>
              <a:gd name="connsiteX51" fmla="*/ 493727 w 5957423"/>
              <a:gd name="connsiteY51" fmla="*/ 5320898 h 6858000"/>
              <a:gd name="connsiteX52" fmla="*/ 486629 w 5957423"/>
              <a:gd name="connsiteY52" fmla="*/ 5309070 h 6858000"/>
              <a:gd name="connsiteX53" fmla="*/ 365169 w 5957423"/>
              <a:gd name="connsiteY53" fmla="*/ 5403697 h 6858000"/>
              <a:gd name="connsiteX54" fmla="*/ 0 w 5957423"/>
              <a:gd name="connsiteY54" fmla="*/ 5126124 h 6858000"/>
              <a:gd name="connsiteX55" fmla="*/ 359648 w 5957423"/>
              <a:gd name="connsiteY55" fmla="*/ 4847761 h 6858000"/>
              <a:gd name="connsiteX56" fmla="*/ 1106548 w 5957423"/>
              <a:gd name="connsiteY56" fmla="*/ 4487388 h 6858000"/>
              <a:gd name="connsiteX57" fmla="*/ 1106548 w 5957423"/>
              <a:gd name="connsiteY57" fmla="*/ 4833567 h 6858000"/>
              <a:gd name="connsiteX58" fmla="*/ 1018214 w 5957423"/>
              <a:gd name="connsiteY58" fmla="*/ 4902172 h 6858000"/>
              <a:gd name="connsiteX59" fmla="*/ 1025312 w 5957423"/>
              <a:gd name="connsiteY59" fmla="*/ 4913212 h 6858000"/>
              <a:gd name="connsiteX60" fmla="*/ 1017425 w 5957423"/>
              <a:gd name="connsiteY60" fmla="*/ 4902960 h 6858000"/>
              <a:gd name="connsiteX61" fmla="*/ 744534 w 5957423"/>
              <a:gd name="connsiteY61" fmla="*/ 5114295 h 6858000"/>
              <a:gd name="connsiteX62" fmla="*/ 744534 w 5957423"/>
              <a:gd name="connsiteY62" fmla="*/ 4768116 h 6858000"/>
              <a:gd name="connsiteX63" fmla="*/ 856530 w 5957423"/>
              <a:gd name="connsiteY63" fmla="*/ 4680586 h 6858000"/>
              <a:gd name="connsiteX64" fmla="*/ 849432 w 5957423"/>
              <a:gd name="connsiteY64" fmla="*/ 4670335 h 6858000"/>
              <a:gd name="connsiteX65" fmla="*/ 857319 w 5957423"/>
              <a:gd name="connsiteY65" fmla="*/ 4680586 h 6858000"/>
              <a:gd name="connsiteX66" fmla="*/ 1106548 w 5957423"/>
              <a:gd name="connsiteY66" fmla="*/ 4487388 h 6858000"/>
              <a:gd name="connsiteX67" fmla="*/ 737436 w 5957423"/>
              <a:gd name="connsiteY67" fmla="*/ 4196409 h 6858000"/>
              <a:gd name="connsiteX68" fmla="*/ 1102605 w 5957423"/>
              <a:gd name="connsiteY68" fmla="*/ 4473983 h 6858000"/>
              <a:gd name="connsiteX69" fmla="*/ 849432 w 5957423"/>
              <a:gd name="connsiteY69" fmla="*/ 4670335 h 6858000"/>
              <a:gd name="connsiteX70" fmla="*/ 738225 w 5957423"/>
              <a:gd name="connsiteY70" fmla="*/ 4756288 h 6858000"/>
              <a:gd name="connsiteX71" fmla="*/ 373056 w 5957423"/>
              <a:gd name="connsiteY71" fmla="*/ 4478714 h 6858000"/>
              <a:gd name="connsiteX72" fmla="*/ 737436 w 5957423"/>
              <a:gd name="connsiteY72" fmla="*/ 4196409 h 6858000"/>
              <a:gd name="connsiteX73" fmla="*/ 1115224 w 5957423"/>
              <a:gd name="connsiteY73" fmla="*/ 3544268 h 6858000"/>
              <a:gd name="connsiteX74" fmla="*/ 1125477 w 5957423"/>
              <a:gd name="connsiteY74" fmla="*/ 3552154 h 6858000"/>
              <a:gd name="connsiteX75" fmla="*/ 1480393 w 5957423"/>
              <a:gd name="connsiteY75" fmla="*/ 3821842 h 6858000"/>
              <a:gd name="connsiteX76" fmla="*/ 1116013 w 5957423"/>
              <a:gd name="connsiteY76" fmla="*/ 4104935 h 6858000"/>
              <a:gd name="connsiteX77" fmla="*/ 750844 w 5957423"/>
              <a:gd name="connsiteY77" fmla="*/ 3826573 h 6858000"/>
              <a:gd name="connsiteX78" fmla="*/ 1115224 w 5957423"/>
              <a:gd name="connsiteY78" fmla="*/ 3544268 h 6858000"/>
              <a:gd name="connsiteX79" fmla="*/ 1480393 w 5957423"/>
              <a:gd name="connsiteY79" fmla="*/ 2538851 h 6858000"/>
              <a:gd name="connsiteX80" fmla="*/ 1480393 w 5957423"/>
              <a:gd name="connsiteY80" fmla="*/ 2885030 h 6858000"/>
              <a:gd name="connsiteX81" fmla="*/ 1386537 w 5957423"/>
              <a:gd name="connsiteY81" fmla="*/ 2957578 h 6858000"/>
              <a:gd name="connsiteX82" fmla="*/ 1392847 w 5957423"/>
              <a:gd name="connsiteY82" fmla="*/ 2969406 h 6858000"/>
              <a:gd name="connsiteX83" fmla="*/ 1385748 w 5957423"/>
              <a:gd name="connsiteY83" fmla="*/ 2958366 h 6858000"/>
              <a:gd name="connsiteX84" fmla="*/ 1118379 w 5957423"/>
              <a:gd name="connsiteY84" fmla="*/ 3165758 h 6858000"/>
              <a:gd name="connsiteX85" fmla="*/ 1118379 w 5957423"/>
              <a:gd name="connsiteY85" fmla="*/ 2819579 h 6858000"/>
              <a:gd name="connsiteX86" fmla="*/ 1246148 w 5957423"/>
              <a:gd name="connsiteY86" fmla="*/ 2720221 h 6858000"/>
              <a:gd name="connsiteX87" fmla="*/ 1239839 w 5957423"/>
              <a:gd name="connsiteY87" fmla="*/ 2708392 h 6858000"/>
              <a:gd name="connsiteX88" fmla="*/ 1246937 w 5957423"/>
              <a:gd name="connsiteY88" fmla="*/ 2719432 h 6858000"/>
              <a:gd name="connsiteX89" fmla="*/ 1480393 w 5957423"/>
              <a:gd name="connsiteY89" fmla="*/ 2538851 h 6858000"/>
              <a:gd name="connsiteX90" fmla="*/ 732704 w 5957423"/>
              <a:gd name="connsiteY90" fmla="*/ 1598885 h 6858000"/>
              <a:gd name="connsiteX91" fmla="*/ 1097873 w 5957423"/>
              <a:gd name="connsiteY91" fmla="*/ 1876459 h 6858000"/>
              <a:gd name="connsiteX92" fmla="*/ 860473 w 5957423"/>
              <a:gd name="connsiteY92" fmla="*/ 2060194 h 6858000"/>
              <a:gd name="connsiteX93" fmla="*/ 867572 w 5957423"/>
              <a:gd name="connsiteY93" fmla="*/ 2072022 h 6858000"/>
              <a:gd name="connsiteX94" fmla="*/ 1106548 w 5957423"/>
              <a:gd name="connsiteY94" fmla="*/ 1885922 h 6858000"/>
              <a:gd name="connsiteX95" fmla="*/ 1106548 w 5957423"/>
              <a:gd name="connsiteY95" fmla="*/ 2232889 h 6858000"/>
              <a:gd name="connsiteX96" fmla="*/ 1007172 w 5957423"/>
              <a:gd name="connsiteY96" fmla="*/ 2310168 h 6858000"/>
              <a:gd name="connsiteX97" fmla="*/ 1014270 w 5957423"/>
              <a:gd name="connsiteY97" fmla="*/ 2322785 h 6858000"/>
              <a:gd name="connsiteX98" fmla="*/ 1110492 w 5957423"/>
              <a:gd name="connsiteY98" fmla="*/ 2247872 h 6858000"/>
              <a:gd name="connsiteX99" fmla="*/ 1475660 w 5957423"/>
              <a:gd name="connsiteY99" fmla="*/ 2525446 h 6858000"/>
              <a:gd name="connsiteX100" fmla="*/ 1239839 w 5957423"/>
              <a:gd name="connsiteY100" fmla="*/ 2708392 h 6858000"/>
              <a:gd name="connsiteX101" fmla="*/ 1112069 w 5957423"/>
              <a:gd name="connsiteY101" fmla="*/ 2807751 h 6858000"/>
              <a:gd name="connsiteX102" fmla="*/ 746900 w 5957423"/>
              <a:gd name="connsiteY102" fmla="*/ 2530177 h 6858000"/>
              <a:gd name="connsiteX103" fmla="*/ 1013481 w 5957423"/>
              <a:gd name="connsiteY103" fmla="*/ 2322785 h 6858000"/>
              <a:gd name="connsiteX104" fmla="*/ 1006383 w 5957423"/>
              <a:gd name="connsiteY104" fmla="*/ 2310168 h 6858000"/>
              <a:gd name="connsiteX105" fmla="*/ 744534 w 5957423"/>
              <a:gd name="connsiteY105" fmla="*/ 2513617 h 6858000"/>
              <a:gd name="connsiteX106" fmla="*/ 744534 w 5957423"/>
              <a:gd name="connsiteY106" fmla="*/ 2166650 h 6858000"/>
              <a:gd name="connsiteX107" fmla="*/ 866783 w 5957423"/>
              <a:gd name="connsiteY107" fmla="*/ 2072022 h 6858000"/>
              <a:gd name="connsiteX108" fmla="*/ 860473 w 5957423"/>
              <a:gd name="connsiteY108" fmla="*/ 2060983 h 6858000"/>
              <a:gd name="connsiteX109" fmla="*/ 738225 w 5957423"/>
              <a:gd name="connsiteY109" fmla="*/ 2155610 h 6858000"/>
              <a:gd name="connsiteX110" fmla="*/ 373056 w 5957423"/>
              <a:gd name="connsiteY110" fmla="*/ 1878036 h 6858000"/>
              <a:gd name="connsiteX111" fmla="*/ 732704 w 5957423"/>
              <a:gd name="connsiteY111" fmla="*/ 1598885 h 6858000"/>
              <a:gd name="connsiteX112" fmla="*/ 1480393 w 5957423"/>
              <a:gd name="connsiteY112" fmla="*/ 1238512 h 6858000"/>
              <a:gd name="connsiteX113" fmla="*/ 1480393 w 5957423"/>
              <a:gd name="connsiteY113" fmla="*/ 1585480 h 6858000"/>
              <a:gd name="connsiteX114" fmla="*/ 1391269 w 5957423"/>
              <a:gd name="connsiteY114" fmla="*/ 1654085 h 6858000"/>
              <a:gd name="connsiteX115" fmla="*/ 1399156 w 5957423"/>
              <a:gd name="connsiteY115" fmla="*/ 1664336 h 6858000"/>
              <a:gd name="connsiteX116" fmla="*/ 1483547 w 5957423"/>
              <a:gd name="connsiteY116" fmla="*/ 1598885 h 6858000"/>
              <a:gd name="connsiteX117" fmla="*/ 1848716 w 5957423"/>
              <a:gd name="connsiteY117" fmla="*/ 1876459 h 6858000"/>
              <a:gd name="connsiteX118" fmla="*/ 1658639 w 5957423"/>
              <a:gd name="connsiteY118" fmla="*/ 2023920 h 6858000"/>
              <a:gd name="connsiteX119" fmla="*/ 1489068 w 5957423"/>
              <a:gd name="connsiteY119" fmla="*/ 2155610 h 6858000"/>
              <a:gd name="connsiteX120" fmla="*/ 1123900 w 5957423"/>
              <a:gd name="connsiteY120" fmla="*/ 1878036 h 6858000"/>
              <a:gd name="connsiteX121" fmla="*/ 1398368 w 5957423"/>
              <a:gd name="connsiteY121" fmla="*/ 1665124 h 6858000"/>
              <a:gd name="connsiteX122" fmla="*/ 1390481 w 5957423"/>
              <a:gd name="connsiteY122" fmla="*/ 1654085 h 6858000"/>
              <a:gd name="connsiteX123" fmla="*/ 1118379 w 5957423"/>
              <a:gd name="connsiteY123" fmla="*/ 1865419 h 6858000"/>
              <a:gd name="connsiteX124" fmla="*/ 1118379 w 5957423"/>
              <a:gd name="connsiteY124" fmla="*/ 1519240 h 6858000"/>
              <a:gd name="connsiteX125" fmla="*/ 1230374 w 5957423"/>
              <a:gd name="connsiteY125" fmla="*/ 1432499 h 6858000"/>
              <a:gd name="connsiteX126" fmla="*/ 1480393 w 5957423"/>
              <a:gd name="connsiteY126" fmla="*/ 1238512 h 6858000"/>
              <a:gd name="connsiteX127" fmla="*/ 1110492 w 5957423"/>
              <a:gd name="connsiteY127" fmla="*/ 947533 h 6858000"/>
              <a:gd name="connsiteX128" fmla="*/ 1475660 w 5957423"/>
              <a:gd name="connsiteY128" fmla="*/ 1225107 h 6858000"/>
              <a:gd name="connsiteX129" fmla="*/ 1223276 w 5957423"/>
              <a:gd name="connsiteY129" fmla="*/ 1421459 h 6858000"/>
              <a:gd name="connsiteX130" fmla="*/ 1230374 w 5957423"/>
              <a:gd name="connsiteY130" fmla="*/ 1432499 h 6858000"/>
              <a:gd name="connsiteX131" fmla="*/ 1222487 w 5957423"/>
              <a:gd name="connsiteY131" fmla="*/ 1422247 h 6858000"/>
              <a:gd name="connsiteX132" fmla="*/ 1112069 w 5957423"/>
              <a:gd name="connsiteY132" fmla="*/ 1508201 h 6858000"/>
              <a:gd name="connsiteX133" fmla="*/ 746900 w 5957423"/>
              <a:gd name="connsiteY133" fmla="*/ 1230627 h 6858000"/>
              <a:gd name="connsiteX134" fmla="*/ 1110492 w 5957423"/>
              <a:gd name="connsiteY134" fmla="*/ 947533 h 6858000"/>
              <a:gd name="connsiteX135" fmla="*/ 1488280 w 5957423"/>
              <a:gd name="connsiteY135" fmla="*/ 296181 h 6858000"/>
              <a:gd name="connsiteX136" fmla="*/ 1498533 w 5957423"/>
              <a:gd name="connsiteY136" fmla="*/ 304066 h 6858000"/>
              <a:gd name="connsiteX137" fmla="*/ 1853448 w 5957423"/>
              <a:gd name="connsiteY137" fmla="*/ 573754 h 6858000"/>
              <a:gd name="connsiteX138" fmla="*/ 1489068 w 5957423"/>
              <a:gd name="connsiteY138" fmla="*/ 856060 h 6858000"/>
              <a:gd name="connsiteX139" fmla="*/ 1123900 w 5957423"/>
              <a:gd name="connsiteY139" fmla="*/ 578486 h 6858000"/>
              <a:gd name="connsiteX140" fmla="*/ 1488280 w 5957423"/>
              <a:gd name="connsiteY140" fmla="*/ 296181 h 6858000"/>
              <a:gd name="connsiteX141" fmla="*/ 1493012 w 5957423"/>
              <a:gd name="connsiteY141" fmla="*/ 0 h 6858000"/>
              <a:gd name="connsiteX142" fmla="*/ 5957423 w 5957423"/>
              <a:gd name="connsiteY142" fmla="*/ 0 h 6858000"/>
              <a:gd name="connsiteX143" fmla="*/ 5957423 w 5957423"/>
              <a:gd name="connsiteY143" fmla="*/ 6858000 h 6858000"/>
              <a:gd name="connsiteX144" fmla="*/ 843615 w 5957423"/>
              <a:gd name="connsiteY144" fmla="*/ 6858000 h 6858000"/>
              <a:gd name="connsiteX145" fmla="*/ 810785 w 5957423"/>
              <a:gd name="connsiteY145" fmla="*/ 6833040 h 6858000"/>
              <a:gd name="connsiteX146" fmla="*/ 746900 w 5957423"/>
              <a:gd name="connsiteY146" fmla="*/ 6784470 h 6858000"/>
              <a:gd name="connsiteX147" fmla="*/ 746900 w 5957423"/>
              <a:gd name="connsiteY147" fmla="*/ 6429617 h 6858000"/>
              <a:gd name="connsiteX148" fmla="*/ 1019002 w 5957423"/>
              <a:gd name="connsiteY148" fmla="*/ 6218282 h 6858000"/>
              <a:gd name="connsiteX149" fmla="*/ 1012693 w 5957423"/>
              <a:gd name="connsiteY149" fmla="*/ 6206454 h 6858000"/>
              <a:gd name="connsiteX150" fmla="*/ 1019791 w 5957423"/>
              <a:gd name="connsiteY150" fmla="*/ 6217493 h 6858000"/>
              <a:gd name="connsiteX151" fmla="*/ 1110492 w 5957423"/>
              <a:gd name="connsiteY151" fmla="*/ 6147311 h 6858000"/>
              <a:gd name="connsiteX152" fmla="*/ 1489068 w 5957423"/>
              <a:gd name="connsiteY152" fmla="*/ 6435925 h 6858000"/>
              <a:gd name="connsiteX153" fmla="*/ 1870800 w 5957423"/>
              <a:gd name="connsiteY153" fmla="*/ 6140214 h 6858000"/>
              <a:gd name="connsiteX154" fmla="*/ 1870800 w 5957423"/>
              <a:gd name="connsiteY154" fmla="*/ 6021930 h 6858000"/>
              <a:gd name="connsiteX155" fmla="*/ 1857392 w 5957423"/>
              <a:gd name="connsiteY155" fmla="*/ 6027450 h 6858000"/>
              <a:gd name="connsiteX156" fmla="*/ 1857392 w 5957423"/>
              <a:gd name="connsiteY156" fmla="*/ 6133906 h 6858000"/>
              <a:gd name="connsiteX157" fmla="*/ 1495378 w 5957423"/>
              <a:gd name="connsiteY157" fmla="*/ 6413845 h 6858000"/>
              <a:gd name="connsiteX158" fmla="*/ 1495378 w 5957423"/>
              <a:gd name="connsiteY158" fmla="*/ 6067667 h 6858000"/>
              <a:gd name="connsiteX159" fmla="*/ 1857392 w 5957423"/>
              <a:gd name="connsiteY159" fmla="*/ 5786939 h 6858000"/>
              <a:gd name="connsiteX160" fmla="*/ 1857392 w 5957423"/>
              <a:gd name="connsiteY160" fmla="*/ 6026661 h 6858000"/>
              <a:gd name="connsiteX161" fmla="*/ 1870800 w 5957423"/>
              <a:gd name="connsiteY161" fmla="*/ 6021141 h 6858000"/>
              <a:gd name="connsiteX162" fmla="*/ 1870800 w 5957423"/>
              <a:gd name="connsiteY162" fmla="*/ 5770379 h 6858000"/>
              <a:gd name="connsiteX163" fmla="*/ 1739875 w 5957423"/>
              <a:gd name="connsiteY163" fmla="*/ 5671020 h 6858000"/>
              <a:gd name="connsiteX164" fmla="*/ 1497744 w 5957423"/>
              <a:gd name="connsiteY164" fmla="*/ 5487285 h 6858000"/>
              <a:gd name="connsiteX165" fmla="*/ 1497744 w 5957423"/>
              <a:gd name="connsiteY165" fmla="*/ 5307493 h 6858000"/>
              <a:gd name="connsiteX166" fmla="*/ 1484336 w 5957423"/>
              <a:gd name="connsiteY166" fmla="*/ 5309858 h 6858000"/>
              <a:gd name="connsiteX167" fmla="*/ 1484336 w 5957423"/>
              <a:gd name="connsiteY167" fmla="*/ 5480976 h 6858000"/>
              <a:gd name="connsiteX168" fmla="*/ 1122322 w 5957423"/>
              <a:gd name="connsiteY168" fmla="*/ 5761705 h 6858000"/>
              <a:gd name="connsiteX169" fmla="*/ 1122322 w 5957423"/>
              <a:gd name="connsiteY169" fmla="*/ 5415526 h 6858000"/>
              <a:gd name="connsiteX170" fmla="*/ 1292682 w 5957423"/>
              <a:gd name="connsiteY170" fmla="*/ 5283047 h 6858000"/>
              <a:gd name="connsiteX171" fmla="*/ 1285583 w 5957423"/>
              <a:gd name="connsiteY171" fmla="*/ 5272796 h 6858000"/>
              <a:gd name="connsiteX172" fmla="*/ 1116013 w 5957423"/>
              <a:gd name="connsiteY172" fmla="*/ 5403697 h 6858000"/>
              <a:gd name="connsiteX173" fmla="*/ 750844 w 5957423"/>
              <a:gd name="connsiteY173" fmla="*/ 5126124 h 6858000"/>
              <a:gd name="connsiteX174" fmla="*/ 1025312 w 5957423"/>
              <a:gd name="connsiteY174" fmla="*/ 4913212 h 6858000"/>
              <a:gd name="connsiteX175" fmla="*/ 1110492 w 5957423"/>
              <a:gd name="connsiteY175" fmla="*/ 4847761 h 6858000"/>
              <a:gd name="connsiteX176" fmla="*/ 1475660 w 5957423"/>
              <a:gd name="connsiteY176" fmla="*/ 5125335 h 6858000"/>
              <a:gd name="connsiteX177" fmla="*/ 1285583 w 5957423"/>
              <a:gd name="connsiteY177" fmla="*/ 5272008 h 6858000"/>
              <a:gd name="connsiteX178" fmla="*/ 1293470 w 5957423"/>
              <a:gd name="connsiteY178" fmla="*/ 5283047 h 6858000"/>
              <a:gd name="connsiteX179" fmla="*/ 1484336 w 5957423"/>
              <a:gd name="connsiteY179" fmla="*/ 5134798 h 6858000"/>
              <a:gd name="connsiteX180" fmla="*/ 1484336 w 5957423"/>
              <a:gd name="connsiteY180" fmla="*/ 5309070 h 6858000"/>
              <a:gd name="connsiteX181" fmla="*/ 1497744 w 5957423"/>
              <a:gd name="connsiteY181" fmla="*/ 5306704 h 6858000"/>
              <a:gd name="connsiteX182" fmla="*/ 1497744 w 5957423"/>
              <a:gd name="connsiteY182" fmla="*/ 5129278 h 6858000"/>
              <a:gd name="connsiteX183" fmla="*/ 1513518 w 5957423"/>
              <a:gd name="connsiteY183" fmla="*/ 5116661 h 6858000"/>
              <a:gd name="connsiteX184" fmla="*/ 1513518 w 5957423"/>
              <a:gd name="connsiteY184" fmla="*/ 5100101 h 6858000"/>
              <a:gd name="connsiteX185" fmla="*/ 1495378 w 5957423"/>
              <a:gd name="connsiteY185" fmla="*/ 5114295 h 6858000"/>
              <a:gd name="connsiteX186" fmla="*/ 1495378 w 5957423"/>
              <a:gd name="connsiteY186" fmla="*/ 4768116 h 6858000"/>
              <a:gd name="connsiteX187" fmla="*/ 1513518 w 5957423"/>
              <a:gd name="connsiteY187" fmla="*/ 4753922 h 6858000"/>
              <a:gd name="connsiteX188" fmla="*/ 1513518 w 5957423"/>
              <a:gd name="connsiteY188" fmla="*/ 4737362 h 6858000"/>
              <a:gd name="connsiteX189" fmla="*/ 1489068 w 5957423"/>
              <a:gd name="connsiteY189" fmla="*/ 4756288 h 6858000"/>
              <a:gd name="connsiteX190" fmla="*/ 1123900 w 5957423"/>
              <a:gd name="connsiteY190" fmla="*/ 4478714 h 6858000"/>
              <a:gd name="connsiteX191" fmla="*/ 1488280 w 5957423"/>
              <a:gd name="connsiteY191" fmla="*/ 4196409 h 6858000"/>
              <a:gd name="connsiteX192" fmla="*/ 1853448 w 5957423"/>
              <a:gd name="connsiteY192" fmla="*/ 4473983 h 6858000"/>
              <a:gd name="connsiteX193" fmla="*/ 1514307 w 5957423"/>
              <a:gd name="connsiteY193" fmla="*/ 4737362 h 6858000"/>
              <a:gd name="connsiteX194" fmla="*/ 1514307 w 5957423"/>
              <a:gd name="connsiteY194" fmla="*/ 4753134 h 6858000"/>
              <a:gd name="connsiteX195" fmla="*/ 1857392 w 5957423"/>
              <a:gd name="connsiteY195" fmla="*/ 4487388 h 6858000"/>
              <a:gd name="connsiteX196" fmla="*/ 1857392 w 5957423"/>
              <a:gd name="connsiteY196" fmla="*/ 4833567 h 6858000"/>
              <a:gd name="connsiteX197" fmla="*/ 1514307 w 5957423"/>
              <a:gd name="connsiteY197" fmla="*/ 5100101 h 6858000"/>
              <a:gd name="connsiteX198" fmla="*/ 1514307 w 5957423"/>
              <a:gd name="connsiteY198" fmla="*/ 5116661 h 6858000"/>
              <a:gd name="connsiteX199" fmla="*/ 1870800 w 5957423"/>
              <a:gd name="connsiteY199" fmla="*/ 4839875 h 6858000"/>
              <a:gd name="connsiteX200" fmla="*/ 1870800 w 5957423"/>
              <a:gd name="connsiteY200" fmla="*/ 4470828 h 6858000"/>
              <a:gd name="connsiteX201" fmla="*/ 1497744 w 5957423"/>
              <a:gd name="connsiteY201" fmla="*/ 4186946 h 6858000"/>
              <a:gd name="connsiteX202" fmla="*/ 1497744 w 5957423"/>
              <a:gd name="connsiteY202" fmla="*/ 3839190 h 6858000"/>
              <a:gd name="connsiteX203" fmla="*/ 1484336 w 5957423"/>
              <a:gd name="connsiteY203" fmla="*/ 3849441 h 6858000"/>
              <a:gd name="connsiteX204" fmla="*/ 1484336 w 5957423"/>
              <a:gd name="connsiteY204" fmla="*/ 4182215 h 6858000"/>
              <a:gd name="connsiteX205" fmla="*/ 1122322 w 5957423"/>
              <a:gd name="connsiteY205" fmla="*/ 4462154 h 6858000"/>
              <a:gd name="connsiteX206" fmla="*/ 1122322 w 5957423"/>
              <a:gd name="connsiteY206" fmla="*/ 4115975 h 6858000"/>
              <a:gd name="connsiteX207" fmla="*/ 1484336 w 5957423"/>
              <a:gd name="connsiteY207" fmla="*/ 3835248 h 6858000"/>
              <a:gd name="connsiteX208" fmla="*/ 1484336 w 5957423"/>
              <a:gd name="connsiteY208" fmla="*/ 3848653 h 6858000"/>
              <a:gd name="connsiteX209" fmla="*/ 1497744 w 5957423"/>
              <a:gd name="connsiteY209" fmla="*/ 3838402 h 6858000"/>
              <a:gd name="connsiteX210" fmla="*/ 1497744 w 5957423"/>
              <a:gd name="connsiteY210" fmla="*/ 3818688 h 6858000"/>
              <a:gd name="connsiteX211" fmla="*/ 1136519 w 5957423"/>
              <a:gd name="connsiteY211" fmla="*/ 3544268 h 6858000"/>
              <a:gd name="connsiteX212" fmla="*/ 1125477 w 5957423"/>
              <a:gd name="connsiteY212" fmla="*/ 3552154 h 6858000"/>
              <a:gd name="connsiteX213" fmla="*/ 1135730 w 5957423"/>
              <a:gd name="connsiteY213" fmla="*/ 3543479 h 6858000"/>
              <a:gd name="connsiteX214" fmla="*/ 1119956 w 5957423"/>
              <a:gd name="connsiteY214" fmla="*/ 3531651 h 6858000"/>
              <a:gd name="connsiteX215" fmla="*/ 1119956 w 5957423"/>
              <a:gd name="connsiteY215" fmla="*/ 3519822 h 6858000"/>
              <a:gd name="connsiteX216" fmla="*/ 1106548 w 5957423"/>
              <a:gd name="connsiteY216" fmla="*/ 3519822 h 6858000"/>
              <a:gd name="connsiteX217" fmla="*/ 1106548 w 5957423"/>
              <a:gd name="connsiteY217" fmla="*/ 3532439 h 6858000"/>
              <a:gd name="connsiteX218" fmla="*/ 744534 w 5957423"/>
              <a:gd name="connsiteY218" fmla="*/ 3812379 h 6858000"/>
              <a:gd name="connsiteX219" fmla="*/ 744534 w 5957423"/>
              <a:gd name="connsiteY219" fmla="*/ 3495377 h 6858000"/>
              <a:gd name="connsiteX220" fmla="*/ 744534 w 5957423"/>
              <a:gd name="connsiteY220" fmla="*/ 3466989 h 6858000"/>
              <a:gd name="connsiteX221" fmla="*/ 1106548 w 5957423"/>
              <a:gd name="connsiteY221" fmla="*/ 3186261 h 6858000"/>
              <a:gd name="connsiteX222" fmla="*/ 1106548 w 5957423"/>
              <a:gd name="connsiteY222" fmla="*/ 3500109 h 6858000"/>
              <a:gd name="connsiteX223" fmla="*/ 1106548 w 5957423"/>
              <a:gd name="connsiteY223" fmla="*/ 3519034 h 6858000"/>
              <a:gd name="connsiteX224" fmla="*/ 1119956 w 5957423"/>
              <a:gd name="connsiteY224" fmla="*/ 3519034 h 6858000"/>
              <a:gd name="connsiteX225" fmla="*/ 1119956 w 5957423"/>
              <a:gd name="connsiteY225" fmla="*/ 3180741 h 6858000"/>
              <a:gd name="connsiteX226" fmla="*/ 1392847 w 5957423"/>
              <a:gd name="connsiteY226" fmla="*/ 2969406 h 6858000"/>
              <a:gd name="connsiteX227" fmla="*/ 1483547 w 5957423"/>
              <a:gd name="connsiteY227" fmla="*/ 2899224 h 6858000"/>
              <a:gd name="connsiteX228" fmla="*/ 1862913 w 5957423"/>
              <a:gd name="connsiteY228" fmla="*/ 3187049 h 6858000"/>
              <a:gd name="connsiteX229" fmla="*/ 2243855 w 5957423"/>
              <a:gd name="connsiteY229" fmla="*/ 2891339 h 6858000"/>
              <a:gd name="connsiteX230" fmla="*/ 2243855 w 5957423"/>
              <a:gd name="connsiteY230" fmla="*/ 2773843 h 6858000"/>
              <a:gd name="connsiteX231" fmla="*/ 2231236 w 5957423"/>
              <a:gd name="connsiteY231" fmla="*/ 2779363 h 6858000"/>
              <a:gd name="connsiteX232" fmla="*/ 2231236 w 5957423"/>
              <a:gd name="connsiteY232" fmla="*/ 2885030 h 6858000"/>
              <a:gd name="connsiteX233" fmla="*/ 1869222 w 5957423"/>
              <a:gd name="connsiteY233" fmla="*/ 3165758 h 6858000"/>
              <a:gd name="connsiteX234" fmla="*/ 1869222 w 5957423"/>
              <a:gd name="connsiteY234" fmla="*/ 2819579 h 6858000"/>
              <a:gd name="connsiteX235" fmla="*/ 2231236 w 5957423"/>
              <a:gd name="connsiteY235" fmla="*/ 2538851 h 6858000"/>
              <a:gd name="connsiteX236" fmla="*/ 2231236 w 5957423"/>
              <a:gd name="connsiteY236" fmla="*/ 2778574 h 6858000"/>
              <a:gd name="connsiteX237" fmla="*/ 2243855 w 5957423"/>
              <a:gd name="connsiteY237" fmla="*/ 2773054 h 6858000"/>
              <a:gd name="connsiteX238" fmla="*/ 2243855 w 5957423"/>
              <a:gd name="connsiteY238" fmla="*/ 2522291 h 6858000"/>
              <a:gd name="connsiteX239" fmla="*/ 2113720 w 5957423"/>
              <a:gd name="connsiteY239" fmla="*/ 2422933 h 6858000"/>
              <a:gd name="connsiteX240" fmla="*/ 2100312 w 5957423"/>
              <a:gd name="connsiteY240" fmla="*/ 2429241 h 6858000"/>
              <a:gd name="connsiteX241" fmla="*/ 2226503 w 5957423"/>
              <a:gd name="connsiteY241" fmla="*/ 2525446 h 6858000"/>
              <a:gd name="connsiteX242" fmla="*/ 1862124 w 5957423"/>
              <a:gd name="connsiteY242" fmla="*/ 2807751 h 6858000"/>
              <a:gd name="connsiteX243" fmla="*/ 1496955 w 5957423"/>
              <a:gd name="connsiteY243" fmla="*/ 2530177 h 6858000"/>
              <a:gd name="connsiteX244" fmla="*/ 1861335 w 5957423"/>
              <a:gd name="connsiteY244" fmla="*/ 2247872 h 6858000"/>
              <a:gd name="connsiteX245" fmla="*/ 2099523 w 5957423"/>
              <a:gd name="connsiteY245" fmla="*/ 2428452 h 6858000"/>
              <a:gd name="connsiteX246" fmla="*/ 2112931 w 5957423"/>
              <a:gd name="connsiteY246" fmla="*/ 2422144 h 6858000"/>
              <a:gd name="connsiteX247" fmla="*/ 1870800 w 5957423"/>
              <a:gd name="connsiteY247" fmla="*/ 2238409 h 6858000"/>
              <a:gd name="connsiteX248" fmla="*/ 1870800 w 5957423"/>
              <a:gd name="connsiteY248" fmla="*/ 2059405 h 6858000"/>
              <a:gd name="connsiteX249" fmla="*/ 1857392 w 5957423"/>
              <a:gd name="connsiteY249" fmla="*/ 2060983 h 6858000"/>
              <a:gd name="connsiteX250" fmla="*/ 1857392 w 5957423"/>
              <a:gd name="connsiteY250" fmla="*/ 2232889 h 6858000"/>
              <a:gd name="connsiteX251" fmla="*/ 1496167 w 5957423"/>
              <a:gd name="connsiteY251" fmla="*/ 2513617 h 6858000"/>
              <a:gd name="connsiteX252" fmla="*/ 1496167 w 5957423"/>
              <a:gd name="connsiteY252" fmla="*/ 2166650 h 6858000"/>
              <a:gd name="connsiteX253" fmla="*/ 1666526 w 5957423"/>
              <a:gd name="connsiteY253" fmla="*/ 2034960 h 6858000"/>
              <a:gd name="connsiteX254" fmla="*/ 1658639 w 5957423"/>
              <a:gd name="connsiteY254" fmla="*/ 2023920 h 6858000"/>
              <a:gd name="connsiteX255" fmla="*/ 1666526 w 5957423"/>
              <a:gd name="connsiteY255" fmla="*/ 2034172 h 6858000"/>
              <a:gd name="connsiteX256" fmla="*/ 1857392 w 5957423"/>
              <a:gd name="connsiteY256" fmla="*/ 1885922 h 6858000"/>
              <a:gd name="connsiteX257" fmla="*/ 1857392 w 5957423"/>
              <a:gd name="connsiteY257" fmla="*/ 2060194 h 6858000"/>
              <a:gd name="connsiteX258" fmla="*/ 1870800 w 5957423"/>
              <a:gd name="connsiteY258" fmla="*/ 2058617 h 6858000"/>
              <a:gd name="connsiteX259" fmla="*/ 1870800 w 5957423"/>
              <a:gd name="connsiteY259" fmla="*/ 1881190 h 6858000"/>
              <a:gd name="connsiteX260" fmla="*/ 1886574 w 5957423"/>
              <a:gd name="connsiteY260" fmla="*/ 1868573 h 6858000"/>
              <a:gd name="connsiteX261" fmla="*/ 1886574 w 5957423"/>
              <a:gd name="connsiteY261" fmla="*/ 1852014 h 6858000"/>
              <a:gd name="connsiteX262" fmla="*/ 1869222 w 5957423"/>
              <a:gd name="connsiteY262" fmla="*/ 1865419 h 6858000"/>
              <a:gd name="connsiteX263" fmla="*/ 1869222 w 5957423"/>
              <a:gd name="connsiteY263" fmla="*/ 1519240 h 6858000"/>
              <a:gd name="connsiteX264" fmla="*/ 1886574 w 5957423"/>
              <a:gd name="connsiteY264" fmla="*/ 1505835 h 6858000"/>
              <a:gd name="connsiteX265" fmla="*/ 1886574 w 5957423"/>
              <a:gd name="connsiteY265" fmla="*/ 1489275 h 6858000"/>
              <a:gd name="connsiteX266" fmla="*/ 1862124 w 5957423"/>
              <a:gd name="connsiteY266" fmla="*/ 1508201 h 6858000"/>
              <a:gd name="connsiteX267" fmla="*/ 1496955 w 5957423"/>
              <a:gd name="connsiteY267" fmla="*/ 1230627 h 6858000"/>
              <a:gd name="connsiteX268" fmla="*/ 1861335 w 5957423"/>
              <a:gd name="connsiteY268" fmla="*/ 947533 h 6858000"/>
              <a:gd name="connsiteX269" fmla="*/ 2226503 w 5957423"/>
              <a:gd name="connsiteY269" fmla="*/ 1225107 h 6858000"/>
              <a:gd name="connsiteX270" fmla="*/ 1887362 w 5957423"/>
              <a:gd name="connsiteY270" fmla="*/ 1488487 h 6858000"/>
              <a:gd name="connsiteX271" fmla="*/ 1887362 w 5957423"/>
              <a:gd name="connsiteY271" fmla="*/ 1505046 h 6858000"/>
              <a:gd name="connsiteX272" fmla="*/ 2231236 w 5957423"/>
              <a:gd name="connsiteY272" fmla="*/ 1238512 h 6858000"/>
              <a:gd name="connsiteX273" fmla="*/ 2231236 w 5957423"/>
              <a:gd name="connsiteY273" fmla="*/ 1585480 h 6858000"/>
              <a:gd name="connsiteX274" fmla="*/ 1887362 w 5957423"/>
              <a:gd name="connsiteY274" fmla="*/ 1851225 h 6858000"/>
              <a:gd name="connsiteX275" fmla="*/ 1887362 w 5957423"/>
              <a:gd name="connsiteY275" fmla="*/ 1867785 h 6858000"/>
              <a:gd name="connsiteX276" fmla="*/ 2243855 w 5957423"/>
              <a:gd name="connsiteY276" fmla="*/ 1591788 h 6858000"/>
              <a:gd name="connsiteX277" fmla="*/ 2243855 w 5957423"/>
              <a:gd name="connsiteY277" fmla="*/ 1221952 h 6858000"/>
              <a:gd name="connsiteX278" fmla="*/ 1870800 w 5957423"/>
              <a:gd name="connsiteY278" fmla="*/ 938859 h 6858000"/>
              <a:gd name="connsiteX279" fmla="*/ 1870800 w 5957423"/>
              <a:gd name="connsiteY279" fmla="*/ 590314 h 6858000"/>
              <a:gd name="connsiteX280" fmla="*/ 1857392 w 5957423"/>
              <a:gd name="connsiteY280" fmla="*/ 600566 h 6858000"/>
              <a:gd name="connsiteX281" fmla="*/ 1857392 w 5957423"/>
              <a:gd name="connsiteY281" fmla="*/ 933339 h 6858000"/>
              <a:gd name="connsiteX282" fmla="*/ 1496167 w 5957423"/>
              <a:gd name="connsiteY282" fmla="*/ 1214067 h 6858000"/>
              <a:gd name="connsiteX283" fmla="*/ 1496167 w 5957423"/>
              <a:gd name="connsiteY283" fmla="*/ 867888 h 6858000"/>
              <a:gd name="connsiteX284" fmla="*/ 1857392 w 5957423"/>
              <a:gd name="connsiteY284" fmla="*/ 587160 h 6858000"/>
              <a:gd name="connsiteX285" fmla="*/ 1857392 w 5957423"/>
              <a:gd name="connsiteY285" fmla="*/ 599777 h 6858000"/>
              <a:gd name="connsiteX286" fmla="*/ 1870800 w 5957423"/>
              <a:gd name="connsiteY286" fmla="*/ 589526 h 6858000"/>
              <a:gd name="connsiteX287" fmla="*/ 1870800 w 5957423"/>
              <a:gd name="connsiteY287" fmla="*/ 570600 h 6858000"/>
              <a:gd name="connsiteX288" fmla="*/ 1509574 w 5957423"/>
              <a:gd name="connsiteY288" fmla="*/ 295392 h 6858000"/>
              <a:gd name="connsiteX289" fmla="*/ 1498533 w 5957423"/>
              <a:gd name="connsiteY289" fmla="*/ 304066 h 6858000"/>
              <a:gd name="connsiteX290" fmla="*/ 1508786 w 5957423"/>
              <a:gd name="connsiteY290" fmla="*/ 295392 h 6858000"/>
              <a:gd name="connsiteX291" fmla="*/ 1493012 w 5957423"/>
              <a:gd name="connsiteY291" fmla="*/ 283564 h 6858000"/>
              <a:gd name="connsiteX292" fmla="*/ 1493012 w 5957423"/>
              <a:gd name="connsiteY292" fmla="*/ 1953 h 6858000"/>
              <a:gd name="connsiteX293" fmla="*/ 1398859 w 5957423"/>
              <a:gd name="connsiteY293" fmla="*/ 0 h 6858000"/>
              <a:gd name="connsiteX294" fmla="*/ 1480393 w 5957423"/>
              <a:gd name="connsiteY294" fmla="*/ 0 h 6858000"/>
              <a:gd name="connsiteX295" fmla="*/ 1480393 w 5957423"/>
              <a:gd name="connsiteY295" fmla="*/ 84404 h 6858000"/>
              <a:gd name="connsiteX296" fmla="*/ 1480393 w 5957423"/>
              <a:gd name="connsiteY296" fmla="*/ 283564 h 6858000"/>
              <a:gd name="connsiteX297" fmla="*/ 1118379 w 5957423"/>
              <a:gd name="connsiteY297" fmla="*/ 564292 h 6858000"/>
              <a:gd name="connsiteX298" fmla="*/ 1118379 w 5957423"/>
              <a:gd name="connsiteY298" fmla="*/ 218113 h 6858000"/>
              <a:gd name="connsiteX299" fmla="*/ 1379242 w 5957423"/>
              <a:gd name="connsiteY299" fmla="*/ 15255 h 6858000"/>
              <a:gd name="connsiteX300" fmla="*/ 840168 w 5957423"/>
              <a:gd name="connsiteY300" fmla="*/ 0 h 6858000"/>
              <a:gd name="connsiteX301" fmla="*/ 1377550 w 5957423"/>
              <a:gd name="connsiteY301" fmla="*/ 0 h 6858000"/>
              <a:gd name="connsiteX302" fmla="*/ 1301753 w 5957423"/>
              <a:gd name="connsiteY302" fmla="*/ 58896 h 6858000"/>
              <a:gd name="connsiteX303" fmla="*/ 1112069 w 5957423"/>
              <a:gd name="connsiteY303" fmla="*/ 206284 h 6858000"/>
              <a:gd name="connsiteX304" fmla="*/ 857417 w 5957423"/>
              <a:gd name="connsiteY304" fmla="*/ 13087 h 6858000"/>
              <a:gd name="connsiteX0" fmla="*/ 738225 w 42118086"/>
              <a:gd name="connsiteY0" fmla="*/ 6911396 h 6975464"/>
              <a:gd name="connsiteX1" fmla="*/ 814828 w 42118086"/>
              <a:gd name="connsiteY1" fmla="*/ 6969750 h 6975464"/>
              <a:gd name="connsiteX2" fmla="*/ 822329 w 42118086"/>
              <a:gd name="connsiteY2" fmla="*/ 6975464 h 6975464"/>
              <a:gd name="connsiteX3" fmla="*/ 655724 w 42118086"/>
              <a:gd name="connsiteY3" fmla="*/ 6975464 h 6975464"/>
              <a:gd name="connsiteX4" fmla="*/ 656989 w 42118086"/>
              <a:gd name="connsiteY4" fmla="*/ 6974481 h 6975464"/>
              <a:gd name="connsiteX5" fmla="*/ 738225 w 42118086"/>
              <a:gd name="connsiteY5" fmla="*/ 6911396 h 6975464"/>
              <a:gd name="connsiteX6" fmla="*/ 733493 w 42118086"/>
              <a:gd name="connsiteY6" fmla="*/ 6551812 h 6975464"/>
              <a:gd name="connsiteX7" fmla="*/ 733493 w 42118086"/>
              <a:gd name="connsiteY7" fmla="*/ 6897991 h 6975464"/>
              <a:gd name="connsiteX8" fmla="*/ 639637 w 42118086"/>
              <a:gd name="connsiteY8" fmla="*/ 6970539 h 6975464"/>
              <a:gd name="connsiteX9" fmla="*/ 656989 w 42118086"/>
              <a:gd name="connsiteY9" fmla="*/ 6974481 h 6975464"/>
              <a:gd name="connsiteX10" fmla="*/ 638848 w 42118086"/>
              <a:gd name="connsiteY10" fmla="*/ 6971327 h 6975464"/>
              <a:gd name="connsiteX11" fmla="*/ 633515 w 42118086"/>
              <a:gd name="connsiteY11" fmla="*/ 6975464 h 6975464"/>
              <a:gd name="connsiteX12" fmla="*/ 371479 w 42118086"/>
              <a:gd name="connsiteY12" fmla="*/ 6975464 h 6975464"/>
              <a:gd name="connsiteX13" fmla="*/ 371479 w 42118086"/>
              <a:gd name="connsiteY13" fmla="*/ 6917056 h 6975464"/>
              <a:gd name="connsiteX14" fmla="*/ 371479 w 42118086"/>
              <a:gd name="connsiteY14" fmla="*/ 6832540 h 6975464"/>
              <a:gd name="connsiteX15" fmla="*/ 733493 w 42118086"/>
              <a:gd name="connsiteY15" fmla="*/ 6551812 h 6975464"/>
              <a:gd name="connsiteX16" fmla="*/ 1106548 w 42118086"/>
              <a:gd name="connsiteY16" fmla="*/ 5904403 h 6975464"/>
              <a:gd name="connsiteX17" fmla="*/ 1106548 w 42118086"/>
              <a:gd name="connsiteY17" fmla="*/ 6251370 h 6975464"/>
              <a:gd name="connsiteX18" fmla="*/ 1012693 w 42118086"/>
              <a:gd name="connsiteY18" fmla="*/ 6323918 h 6975464"/>
              <a:gd name="connsiteX19" fmla="*/ 744534 w 42118086"/>
              <a:gd name="connsiteY19" fmla="*/ 6531309 h 6975464"/>
              <a:gd name="connsiteX20" fmla="*/ 744534 w 42118086"/>
              <a:gd name="connsiteY20" fmla="*/ 6185131 h 6975464"/>
              <a:gd name="connsiteX21" fmla="*/ 873093 w 42118086"/>
              <a:gd name="connsiteY21" fmla="*/ 6085772 h 6975464"/>
              <a:gd name="connsiteX22" fmla="*/ 1106548 w 42118086"/>
              <a:gd name="connsiteY22" fmla="*/ 5904403 h 6975464"/>
              <a:gd name="connsiteX23" fmla="*/ 1739875 w 42118086"/>
              <a:gd name="connsiteY23" fmla="*/ 5788484 h 6975464"/>
              <a:gd name="connsiteX24" fmla="*/ 1726467 w 42118086"/>
              <a:gd name="connsiteY24" fmla="*/ 5794792 h 6975464"/>
              <a:gd name="connsiteX25" fmla="*/ 1739875 w 42118086"/>
              <a:gd name="connsiteY25" fmla="*/ 5788484 h 6975464"/>
              <a:gd name="connsiteX26" fmla="*/ 1488280 w 42118086"/>
              <a:gd name="connsiteY26" fmla="*/ 5613423 h 6975464"/>
              <a:gd name="connsiteX27" fmla="*/ 1726467 w 42118086"/>
              <a:gd name="connsiteY27" fmla="*/ 5794792 h 6975464"/>
              <a:gd name="connsiteX28" fmla="*/ 1853448 w 42118086"/>
              <a:gd name="connsiteY28" fmla="*/ 5890997 h 6975464"/>
              <a:gd name="connsiteX29" fmla="*/ 1489068 w 42118086"/>
              <a:gd name="connsiteY29" fmla="*/ 6174091 h 6975464"/>
              <a:gd name="connsiteX30" fmla="*/ 1123900 w 42118086"/>
              <a:gd name="connsiteY30" fmla="*/ 5896517 h 6975464"/>
              <a:gd name="connsiteX31" fmla="*/ 1488280 w 42118086"/>
              <a:gd name="connsiteY31" fmla="*/ 5613423 h 6975464"/>
              <a:gd name="connsiteX32" fmla="*/ 359648 w 42118086"/>
              <a:gd name="connsiteY32" fmla="*/ 4965225 h 6975464"/>
              <a:gd name="connsiteX33" fmla="*/ 724817 w 42118086"/>
              <a:gd name="connsiteY33" fmla="*/ 5242799 h 6975464"/>
              <a:gd name="connsiteX34" fmla="*/ 487418 w 42118086"/>
              <a:gd name="connsiteY34" fmla="*/ 5426534 h 6975464"/>
              <a:gd name="connsiteX35" fmla="*/ 493727 w 42118086"/>
              <a:gd name="connsiteY35" fmla="*/ 5437574 h 6975464"/>
              <a:gd name="connsiteX36" fmla="*/ 733493 w 42118086"/>
              <a:gd name="connsiteY36" fmla="*/ 5252262 h 6975464"/>
              <a:gd name="connsiteX37" fmla="*/ 733493 w 42118086"/>
              <a:gd name="connsiteY37" fmla="*/ 5598440 h 6975464"/>
              <a:gd name="connsiteX38" fmla="*/ 633328 w 42118086"/>
              <a:gd name="connsiteY38" fmla="*/ 5675720 h 6975464"/>
              <a:gd name="connsiteX39" fmla="*/ 641215 w 42118086"/>
              <a:gd name="connsiteY39" fmla="*/ 5688337 h 6975464"/>
              <a:gd name="connsiteX40" fmla="*/ 737436 w 42118086"/>
              <a:gd name="connsiteY40" fmla="*/ 5613423 h 6975464"/>
              <a:gd name="connsiteX41" fmla="*/ 1102605 w 42118086"/>
              <a:gd name="connsiteY41" fmla="*/ 5890997 h 6975464"/>
              <a:gd name="connsiteX42" fmla="*/ 866783 w 42118086"/>
              <a:gd name="connsiteY42" fmla="*/ 6073943 h 6975464"/>
              <a:gd name="connsiteX43" fmla="*/ 873093 w 42118086"/>
              <a:gd name="connsiteY43" fmla="*/ 6085772 h 6975464"/>
              <a:gd name="connsiteX44" fmla="*/ 865994 w 42118086"/>
              <a:gd name="connsiteY44" fmla="*/ 6074732 h 6975464"/>
              <a:gd name="connsiteX45" fmla="*/ 738225 w 42118086"/>
              <a:gd name="connsiteY45" fmla="*/ 6174091 h 6975464"/>
              <a:gd name="connsiteX46" fmla="*/ 373056 w 42118086"/>
              <a:gd name="connsiteY46" fmla="*/ 5896517 h 6975464"/>
              <a:gd name="connsiteX47" fmla="*/ 640426 w 42118086"/>
              <a:gd name="connsiteY47" fmla="*/ 5689125 h 6975464"/>
              <a:gd name="connsiteX48" fmla="*/ 633328 w 42118086"/>
              <a:gd name="connsiteY48" fmla="*/ 5676508 h 6975464"/>
              <a:gd name="connsiteX49" fmla="*/ 371479 w 42118086"/>
              <a:gd name="connsiteY49" fmla="*/ 5879169 h 6975464"/>
              <a:gd name="connsiteX50" fmla="*/ 371479 w 42118086"/>
              <a:gd name="connsiteY50" fmla="*/ 5532990 h 6975464"/>
              <a:gd name="connsiteX51" fmla="*/ 493727 w 42118086"/>
              <a:gd name="connsiteY51" fmla="*/ 5438362 h 6975464"/>
              <a:gd name="connsiteX52" fmla="*/ 486629 w 42118086"/>
              <a:gd name="connsiteY52" fmla="*/ 5426534 h 6975464"/>
              <a:gd name="connsiteX53" fmla="*/ 365169 w 42118086"/>
              <a:gd name="connsiteY53" fmla="*/ 5521161 h 6975464"/>
              <a:gd name="connsiteX54" fmla="*/ 0 w 42118086"/>
              <a:gd name="connsiteY54" fmla="*/ 5243588 h 6975464"/>
              <a:gd name="connsiteX55" fmla="*/ 359648 w 42118086"/>
              <a:gd name="connsiteY55" fmla="*/ 4965225 h 6975464"/>
              <a:gd name="connsiteX56" fmla="*/ 1106548 w 42118086"/>
              <a:gd name="connsiteY56" fmla="*/ 4604852 h 6975464"/>
              <a:gd name="connsiteX57" fmla="*/ 1106548 w 42118086"/>
              <a:gd name="connsiteY57" fmla="*/ 4951031 h 6975464"/>
              <a:gd name="connsiteX58" fmla="*/ 1018214 w 42118086"/>
              <a:gd name="connsiteY58" fmla="*/ 5019636 h 6975464"/>
              <a:gd name="connsiteX59" fmla="*/ 1025312 w 42118086"/>
              <a:gd name="connsiteY59" fmla="*/ 5030676 h 6975464"/>
              <a:gd name="connsiteX60" fmla="*/ 1017425 w 42118086"/>
              <a:gd name="connsiteY60" fmla="*/ 5020424 h 6975464"/>
              <a:gd name="connsiteX61" fmla="*/ 744534 w 42118086"/>
              <a:gd name="connsiteY61" fmla="*/ 5231759 h 6975464"/>
              <a:gd name="connsiteX62" fmla="*/ 744534 w 42118086"/>
              <a:gd name="connsiteY62" fmla="*/ 4885580 h 6975464"/>
              <a:gd name="connsiteX63" fmla="*/ 856530 w 42118086"/>
              <a:gd name="connsiteY63" fmla="*/ 4798050 h 6975464"/>
              <a:gd name="connsiteX64" fmla="*/ 849432 w 42118086"/>
              <a:gd name="connsiteY64" fmla="*/ 4787799 h 6975464"/>
              <a:gd name="connsiteX65" fmla="*/ 857319 w 42118086"/>
              <a:gd name="connsiteY65" fmla="*/ 4798050 h 6975464"/>
              <a:gd name="connsiteX66" fmla="*/ 1106548 w 42118086"/>
              <a:gd name="connsiteY66" fmla="*/ 4604852 h 6975464"/>
              <a:gd name="connsiteX67" fmla="*/ 737436 w 42118086"/>
              <a:gd name="connsiteY67" fmla="*/ 4313873 h 6975464"/>
              <a:gd name="connsiteX68" fmla="*/ 1102605 w 42118086"/>
              <a:gd name="connsiteY68" fmla="*/ 4591447 h 6975464"/>
              <a:gd name="connsiteX69" fmla="*/ 849432 w 42118086"/>
              <a:gd name="connsiteY69" fmla="*/ 4787799 h 6975464"/>
              <a:gd name="connsiteX70" fmla="*/ 738225 w 42118086"/>
              <a:gd name="connsiteY70" fmla="*/ 4873752 h 6975464"/>
              <a:gd name="connsiteX71" fmla="*/ 373056 w 42118086"/>
              <a:gd name="connsiteY71" fmla="*/ 4596178 h 6975464"/>
              <a:gd name="connsiteX72" fmla="*/ 737436 w 42118086"/>
              <a:gd name="connsiteY72" fmla="*/ 4313873 h 6975464"/>
              <a:gd name="connsiteX73" fmla="*/ 1115224 w 42118086"/>
              <a:gd name="connsiteY73" fmla="*/ 3661732 h 6975464"/>
              <a:gd name="connsiteX74" fmla="*/ 1125477 w 42118086"/>
              <a:gd name="connsiteY74" fmla="*/ 3669618 h 6975464"/>
              <a:gd name="connsiteX75" fmla="*/ 1480393 w 42118086"/>
              <a:gd name="connsiteY75" fmla="*/ 3939306 h 6975464"/>
              <a:gd name="connsiteX76" fmla="*/ 1116013 w 42118086"/>
              <a:gd name="connsiteY76" fmla="*/ 4222399 h 6975464"/>
              <a:gd name="connsiteX77" fmla="*/ 750844 w 42118086"/>
              <a:gd name="connsiteY77" fmla="*/ 3944037 h 6975464"/>
              <a:gd name="connsiteX78" fmla="*/ 1115224 w 42118086"/>
              <a:gd name="connsiteY78" fmla="*/ 3661732 h 6975464"/>
              <a:gd name="connsiteX79" fmla="*/ 1480393 w 42118086"/>
              <a:gd name="connsiteY79" fmla="*/ 2656315 h 6975464"/>
              <a:gd name="connsiteX80" fmla="*/ 1480393 w 42118086"/>
              <a:gd name="connsiteY80" fmla="*/ 3002494 h 6975464"/>
              <a:gd name="connsiteX81" fmla="*/ 1386537 w 42118086"/>
              <a:gd name="connsiteY81" fmla="*/ 3075042 h 6975464"/>
              <a:gd name="connsiteX82" fmla="*/ 1392847 w 42118086"/>
              <a:gd name="connsiteY82" fmla="*/ 3086870 h 6975464"/>
              <a:gd name="connsiteX83" fmla="*/ 1385748 w 42118086"/>
              <a:gd name="connsiteY83" fmla="*/ 3075830 h 6975464"/>
              <a:gd name="connsiteX84" fmla="*/ 1118379 w 42118086"/>
              <a:gd name="connsiteY84" fmla="*/ 3283222 h 6975464"/>
              <a:gd name="connsiteX85" fmla="*/ 1118379 w 42118086"/>
              <a:gd name="connsiteY85" fmla="*/ 2937043 h 6975464"/>
              <a:gd name="connsiteX86" fmla="*/ 1246148 w 42118086"/>
              <a:gd name="connsiteY86" fmla="*/ 2837685 h 6975464"/>
              <a:gd name="connsiteX87" fmla="*/ 1239839 w 42118086"/>
              <a:gd name="connsiteY87" fmla="*/ 2825856 h 6975464"/>
              <a:gd name="connsiteX88" fmla="*/ 1246937 w 42118086"/>
              <a:gd name="connsiteY88" fmla="*/ 2836896 h 6975464"/>
              <a:gd name="connsiteX89" fmla="*/ 1480393 w 42118086"/>
              <a:gd name="connsiteY89" fmla="*/ 2656315 h 6975464"/>
              <a:gd name="connsiteX90" fmla="*/ 732704 w 42118086"/>
              <a:gd name="connsiteY90" fmla="*/ 1716349 h 6975464"/>
              <a:gd name="connsiteX91" fmla="*/ 1097873 w 42118086"/>
              <a:gd name="connsiteY91" fmla="*/ 1993923 h 6975464"/>
              <a:gd name="connsiteX92" fmla="*/ 860473 w 42118086"/>
              <a:gd name="connsiteY92" fmla="*/ 2177658 h 6975464"/>
              <a:gd name="connsiteX93" fmla="*/ 867572 w 42118086"/>
              <a:gd name="connsiteY93" fmla="*/ 2189486 h 6975464"/>
              <a:gd name="connsiteX94" fmla="*/ 1106548 w 42118086"/>
              <a:gd name="connsiteY94" fmla="*/ 2003386 h 6975464"/>
              <a:gd name="connsiteX95" fmla="*/ 1106548 w 42118086"/>
              <a:gd name="connsiteY95" fmla="*/ 2350353 h 6975464"/>
              <a:gd name="connsiteX96" fmla="*/ 1007172 w 42118086"/>
              <a:gd name="connsiteY96" fmla="*/ 2427632 h 6975464"/>
              <a:gd name="connsiteX97" fmla="*/ 1014270 w 42118086"/>
              <a:gd name="connsiteY97" fmla="*/ 2440249 h 6975464"/>
              <a:gd name="connsiteX98" fmla="*/ 1110492 w 42118086"/>
              <a:gd name="connsiteY98" fmla="*/ 2365336 h 6975464"/>
              <a:gd name="connsiteX99" fmla="*/ 1475660 w 42118086"/>
              <a:gd name="connsiteY99" fmla="*/ 2642910 h 6975464"/>
              <a:gd name="connsiteX100" fmla="*/ 1239839 w 42118086"/>
              <a:gd name="connsiteY100" fmla="*/ 2825856 h 6975464"/>
              <a:gd name="connsiteX101" fmla="*/ 1112069 w 42118086"/>
              <a:gd name="connsiteY101" fmla="*/ 2925215 h 6975464"/>
              <a:gd name="connsiteX102" fmla="*/ 746900 w 42118086"/>
              <a:gd name="connsiteY102" fmla="*/ 2647641 h 6975464"/>
              <a:gd name="connsiteX103" fmla="*/ 1013481 w 42118086"/>
              <a:gd name="connsiteY103" fmla="*/ 2440249 h 6975464"/>
              <a:gd name="connsiteX104" fmla="*/ 1006383 w 42118086"/>
              <a:gd name="connsiteY104" fmla="*/ 2427632 h 6975464"/>
              <a:gd name="connsiteX105" fmla="*/ 744534 w 42118086"/>
              <a:gd name="connsiteY105" fmla="*/ 2631081 h 6975464"/>
              <a:gd name="connsiteX106" fmla="*/ 744534 w 42118086"/>
              <a:gd name="connsiteY106" fmla="*/ 2284114 h 6975464"/>
              <a:gd name="connsiteX107" fmla="*/ 866783 w 42118086"/>
              <a:gd name="connsiteY107" fmla="*/ 2189486 h 6975464"/>
              <a:gd name="connsiteX108" fmla="*/ 860473 w 42118086"/>
              <a:gd name="connsiteY108" fmla="*/ 2178447 h 6975464"/>
              <a:gd name="connsiteX109" fmla="*/ 738225 w 42118086"/>
              <a:gd name="connsiteY109" fmla="*/ 2273074 h 6975464"/>
              <a:gd name="connsiteX110" fmla="*/ 373056 w 42118086"/>
              <a:gd name="connsiteY110" fmla="*/ 1995500 h 6975464"/>
              <a:gd name="connsiteX111" fmla="*/ 732704 w 42118086"/>
              <a:gd name="connsiteY111" fmla="*/ 1716349 h 6975464"/>
              <a:gd name="connsiteX112" fmla="*/ 1480393 w 42118086"/>
              <a:gd name="connsiteY112" fmla="*/ 1355976 h 6975464"/>
              <a:gd name="connsiteX113" fmla="*/ 1480393 w 42118086"/>
              <a:gd name="connsiteY113" fmla="*/ 1702944 h 6975464"/>
              <a:gd name="connsiteX114" fmla="*/ 1391269 w 42118086"/>
              <a:gd name="connsiteY114" fmla="*/ 1771549 h 6975464"/>
              <a:gd name="connsiteX115" fmla="*/ 1399156 w 42118086"/>
              <a:gd name="connsiteY115" fmla="*/ 1781800 h 6975464"/>
              <a:gd name="connsiteX116" fmla="*/ 1483547 w 42118086"/>
              <a:gd name="connsiteY116" fmla="*/ 1716349 h 6975464"/>
              <a:gd name="connsiteX117" fmla="*/ 1848716 w 42118086"/>
              <a:gd name="connsiteY117" fmla="*/ 1993923 h 6975464"/>
              <a:gd name="connsiteX118" fmla="*/ 1658639 w 42118086"/>
              <a:gd name="connsiteY118" fmla="*/ 2141384 h 6975464"/>
              <a:gd name="connsiteX119" fmla="*/ 1489068 w 42118086"/>
              <a:gd name="connsiteY119" fmla="*/ 2273074 h 6975464"/>
              <a:gd name="connsiteX120" fmla="*/ 1123900 w 42118086"/>
              <a:gd name="connsiteY120" fmla="*/ 1995500 h 6975464"/>
              <a:gd name="connsiteX121" fmla="*/ 1398368 w 42118086"/>
              <a:gd name="connsiteY121" fmla="*/ 1782588 h 6975464"/>
              <a:gd name="connsiteX122" fmla="*/ 1390481 w 42118086"/>
              <a:gd name="connsiteY122" fmla="*/ 1771549 h 6975464"/>
              <a:gd name="connsiteX123" fmla="*/ 1118379 w 42118086"/>
              <a:gd name="connsiteY123" fmla="*/ 1982883 h 6975464"/>
              <a:gd name="connsiteX124" fmla="*/ 1118379 w 42118086"/>
              <a:gd name="connsiteY124" fmla="*/ 1636704 h 6975464"/>
              <a:gd name="connsiteX125" fmla="*/ 1230374 w 42118086"/>
              <a:gd name="connsiteY125" fmla="*/ 1549963 h 6975464"/>
              <a:gd name="connsiteX126" fmla="*/ 1480393 w 42118086"/>
              <a:gd name="connsiteY126" fmla="*/ 1355976 h 6975464"/>
              <a:gd name="connsiteX127" fmla="*/ 1110492 w 42118086"/>
              <a:gd name="connsiteY127" fmla="*/ 1064997 h 6975464"/>
              <a:gd name="connsiteX128" fmla="*/ 1475660 w 42118086"/>
              <a:gd name="connsiteY128" fmla="*/ 1342571 h 6975464"/>
              <a:gd name="connsiteX129" fmla="*/ 1223276 w 42118086"/>
              <a:gd name="connsiteY129" fmla="*/ 1538923 h 6975464"/>
              <a:gd name="connsiteX130" fmla="*/ 1230374 w 42118086"/>
              <a:gd name="connsiteY130" fmla="*/ 1549963 h 6975464"/>
              <a:gd name="connsiteX131" fmla="*/ 1222487 w 42118086"/>
              <a:gd name="connsiteY131" fmla="*/ 1539711 h 6975464"/>
              <a:gd name="connsiteX132" fmla="*/ 1112069 w 42118086"/>
              <a:gd name="connsiteY132" fmla="*/ 1625665 h 6975464"/>
              <a:gd name="connsiteX133" fmla="*/ 746900 w 42118086"/>
              <a:gd name="connsiteY133" fmla="*/ 1348091 h 6975464"/>
              <a:gd name="connsiteX134" fmla="*/ 1110492 w 42118086"/>
              <a:gd name="connsiteY134" fmla="*/ 1064997 h 6975464"/>
              <a:gd name="connsiteX135" fmla="*/ 1488280 w 42118086"/>
              <a:gd name="connsiteY135" fmla="*/ 413645 h 6975464"/>
              <a:gd name="connsiteX136" fmla="*/ 1498533 w 42118086"/>
              <a:gd name="connsiteY136" fmla="*/ 421530 h 6975464"/>
              <a:gd name="connsiteX137" fmla="*/ 1853448 w 42118086"/>
              <a:gd name="connsiteY137" fmla="*/ 691218 h 6975464"/>
              <a:gd name="connsiteX138" fmla="*/ 1489068 w 42118086"/>
              <a:gd name="connsiteY138" fmla="*/ 973524 h 6975464"/>
              <a:gd name="connsiteX139" fmla="*/ 1123900 w 42118086"/>
              <a:gd name="connsiteY139" fmla="*/ 695950 h 6975464"/>
              <a:gd name="connsiteX140" fmla="*/ 1488280 w 42118086"/>
              <a:gd name="connsiteY140" fmla="*/ 413645 h 6975464"/>
              <a:gd name="connsiteX141" fmla="*/ 1493012 w 42118086"/>
              <a:gd name="connsiteY141" fmla="*/ 117464 h 6975464"/>
              <a:gd name="connsiteX142" fmla="*/ 42118086 w 42118086"/>
              <a:gd name="connsiteY142" fmla="*/ 0 h 6975464"/>
              <a:gd name="connsiteX143" fmla="*/ 5957423 w 42118086"/>
              <a:gd name="connsiteY143" fmla="*/ 6975464 h 6975464"/>
              <a:gd name="connsiteX144" fmla="*/ 843615 w 42118086"/>
              <a:gd name="connsiteY144" fmla="*/ 6975464 h 6975464"/>
              <a:gd name="connsiteX145" fmla="*/ 810785 w 42118086"/>
              <a:gd name="connsiteY145" fmla="*/ 6950504 h 6975464"/>
              <a:gd name="connsiteX146" fmla="*/ 746900 w 42118086"/>
              <a:gd name="connsiteY146" fmla="*/ 6901934 h 6975464"/>
              <a:gd name="connsiteX147" fmla="*/ 746900 w 42118086"/>
              <a:gd name="connsiteY147" fmla="*/ 6547081 h 6975464"/>
              <a:gd name="connsiteX148" fmla="*/ 1019002 w 42118086"/>
              <a:gd name="connsiteY148" fmla="*/ 6335746 h 6975464"/>
              <a:gd name="connsiteX149" fmla="*/ 1012693 w 42118086"/>
              <a:gd name="connsiteY149" fmla="*/ 6323918 h 6975464"/>
              <a:gd name="connsiteX150" fmla="*/ 1019791 w 42118086"/>
              <a:gd name="connsiteY150" fmla="*/ 6334957 h 6975464"/>
              <a:gd name="connsiteX151" fmla="*/ 1110492 w 42118086"/>
              <a:gd name="connsiteY151" fmla="*/ 6264775 h 6975464"/>
              <a:gd name="connsiteX152" fmla="*/ 1489068 w 42118086"/>
              <a:gd name="connsiteY152" fmla="*/ 6553389 h 6975464"/>
              <a:gd name="connsiteX153" fmla="*/ 1870800 w 42118086"/>
              <a:gd name="connsiteY153" fmla="*/ 6257678 h 6975464"/>
              <a:gd name="connsiteX154" fmla="*/ 1870800 w 42118086"/>
              <a:gd name="connsiteY154" fmla="*/ 6139394 h 6975464"/>
              <a:gd name="connsiteX155" fmla="*/ 1857392 w 42118086"/>
              <a:gd name="connsiteY155" fmla="*/ 6144914 h 6975464"/>
              <a:gd name="connsiteX156" fmla="*/ 1857392 w 42118086"/>
              <a:gd name="connsiteY156" fmla="*/ 6251370 h 6975464"/>
              <a:gd name="connsiteX157" fmla="*/ 1495378 w 42118086"/>
              <a:gd name="connsiteY157" fmla="*/ 6531309 h 6975464"/>
              <a:gd name="connsiteX158" fmla="*/ 1495378 w 42118086"/>
              <a:gd name="connsiteY158" fmla="*/ 6185131 h 6975464"/>
              <a:gd name="connsiteX159" fmla="*/ 1857392 w 42118086"/>
              <a:gd name="connsiteY159" fmla="*/ 5904403 h 6975464"/>
              <a:gd name="connsiteX160" fmla="*/ 1857392 w 42118086"/>
              <a:gd name="connsiteY160" fmla="*/ 6144125 h 6975464"/>
              <a:gd name="connsiteX161" fmla="*/ 1870800 w 42118086"/>
              <a:gd name="connsiteY161" fmla="*/ 6138605 h 6975464"/>
              <a:gd name="connsiteX162" fmla="*/ 1870800 w 42118086"/>
              <a:gd name="connsiteY162" fmla="*/ 5887843 h 6975464"/>
              <a:gd name="connsiteX163" fmla="*/ 1739875 w 42118086"/>
              <a:gd name="connsiteY163" fmla="*/ 5788484 h 6975464"/>
              <a:gd name="connsiteX164" fmla="*/ 1497744 w 42118086"/>
              <a:gd name="connsiteY164" fmla="*/ 5604749 h 6975464"/>
              <a:gd name="connsiteX165" fmla="*/ 1497744 w 42118086"/>
              <a:gd name="connsiteY165" fmla="*/ 5424957 h 6975464"/>
              <a:gd name="connsiteX166" fmla="*/ 1484336 w 42118086"/>
              <a:gd name="connsiteY166" fmla="*/ 5427322 h 6975464"/>
              <a:gd name="connsiteX167" fmla="*/ 1484336 w 42118086"/>
              <a:gd name="connsiteY167" fmla="*/ 5598440 h 6975464"/>
              <a:gd name="connsiteX168" fmla="*/ 1122322 w 42118086"/>
              <a:gd name="connsiteY168" fmla="*/ 5879169 h 6975464"/>
              <a:gd name="connsiteX169" fmla="*/ 1122322 w 42118086"/>
              <a:gd name="connsiteY169" fmla="*/ 5532990 h 6975464"/>
              <a:gd name="connsiteX170" fmla="*/ 1292682 w 42118086"/>
              <a:gd name="connsiteY170" fmla="*/ 5400511 h 6975464"/>
              <a:gd name="connsiteX171" fmla="*/ 1285583 w 42118086"/>
              <a:gd name="connsiteY171" fmla="*/ 5390260 h 6975464"/>
              <a:gd name="connsiteX172" fmla="*/ 1116013 w 42118086"/>
              <a:gd name="connsiteY172" fmla="*/ 5521161 h 6975464"/>
              <a:gd name="connsiteX173" fmla="*/ 750844 w 42118086"/>
              <a:gd name="connsiteY173" fmla="*/ 5243588 h 6975464"/>
              <a:gd name="connsiteX174" fmla="*/ 1025312 w 42118086"/>
              <a:gd name="connsiteY174" fmla="*/ 5030676 h 6975464"/>
              <a:gd name="connsiteX175" fmla="*/ 1110492 w 42118086"/>
              <a:gd name="connsiteY175" fmla="*/ 4965225 h 6975464"/>
              <a:gd name="connsiteX176" fmla="*/ 1475660 w 42118086"/>
              <a:gd name="connsiteY176" fmla="*/ 5242799 h 6975464"/>
              <a:gd name="connsiteX177" fmla="*/ 1285583 w 42118086"/>
              <a:gd name="connsiteY177" fmla="*/ 5389472 h 6975464"/>
              <a:gd name="connsiteX178" fmla="*/ 1293470 w 42118086"/>
              <a:gd name="connsiteY178" fmla="*/ 5400511 h 6975464"/>
              <a:gd name="connsiteX179" fmla="*/ 1484336 w 42118086"/>
              <a:gd name="connsiteY179" fmla="*/ 5252262 h 6975464"/>
              <a:gd name="connsiteX180" fmla="*/ 1484336 w 42118086"/>
              <a:gd name="connsiteY180" fmla="*/ 5426534 h 6975464"/>
              <a:gd name="connsiteX181" fmla="*/ 1497744 w 42118086"/>
              <a:gd name="connsiteY181" fmla="*/ 5424168 h 6975464"/>
              <a:gd name="connsiteX182" fmla="*/ 1497744 w 42118086"/>
              <a:gd name="connsiteY182" fmla="*/ 5246742 h 6975464"/>
              <a:gd name="connsiteX183" fmla="*/ 1513518 w 42118086"/>
              <a:gd name="connsiteY183" fmla="*/ 5234125 h 6975464"/>
              <a:gd name="connsiteX184" fmla="*/ 1513518 w 42118086"/>
              <a:gd name="connsiteY184" fmla="*/ 5217565 h 6975464"/>
              <a:gd name="connsiteX185" fmla="*/ 1495378 w 42118086"/>
              <a:gd name="connsiteY185" fmla="*/ 5231759 h 6975464"/>
              <a:gd name="connsiteX186" fmla="*/ 1495378 w 42118086"/>
              <a:gd name="connsiteY186" fmla="*/ 4885580 h 6975464"/>
              <a:gd name="connsiteX187" fmla="*/ 1513518 w 42118086"/>
              <a:gd name="connsiteY187" fmla="*/ 4871386 h 6975464"/>
              <a:gd name="connsiteX188" fmla="*/ 1513518 w 42118086"/>
              <a:gd name="connsiteY188" fmla="*/ 4854826 h 6975464"/>
              <a:gd name="connsiteX189" fmla="*/ 1489068 w 42118086"/>
              <a:gd name="connsiteY189" fmla="*/ 4873752 h 6975464"/>
              <a:gd name="connsiteX190" fmla="*/ 1123900 w 42118086"/>
              <a:gd name="connsiteY190" fmla="*/ 4596178 h 6975464"/>
              <a:gd name="connsiteX191" fmla="*/ 1488280 w 42118086"/>
              <a:gd name="connsiteY191" fmla="*/ 4313873 h 6975464"/>
              <a:gd name="connsiteX192" fmla="*/ 1853448 w 42118086"/>
              <a:gd name="connsiteY192" fmla="*/ 4591447 h 6975464"/>
              <a:gd name="connsiteX193" fmla="*/ 1514307 w 42118086"/>
              <a:gd name="connsiteY193" fmla="*/ 4854826 h 6975464"/>
              <a:gd name="connsiteX194" fmla="*/ 1514307 w 42118086"/>
              <a:gd name="connsiteY194" fmla="*/ 4870598 h 6975464"/>
              <a:gd name="connsiteX195" fmla="*/ 1857392 w 42118086"/>
              <a:gd name="connsiteY195" fmla="*/ 4604852 h 6975464"/>
              <a:gd name="connsiteX196" fmla="*/ 1857392 w 42118086"/>
              <a:gd name="connsiteY196" fmla="*/ 4951031 h 6975464"/>
              <a:gd name="connsiteX197" fmla="*/ 1514307 w 42118086"/>
              <a:gd name="connsiteY197" fmla="*/ 5217565 h 6975464"/>
              <a:gd name="connsiteX198" fmla="*/ 1514307 w 42118086"/>
              <a:gd name="connsiteY198" fmla="*/ 5234125 h 6975464"/>
              <a:gd name="connsiteX199" fmla="*/ 1870800 w 42118086"/>
              <a:gd name="connsiteY199" fmla="*/ 4957339 h 6975464"/>
              <a:gd name="connsiteX200" fmla="*/ 1870800 w 42118086"/>
              <a:gd name="connsiteY200" fmla="*/ 4588292 h 6975464"/>
              <a:gd name="connsiteX201" fmla="*/ 1497744 w 42118086"/>
              <a:gd name="connsiteY201" fmla="*/ 4304410 h 6975464"/>
              <a:gd name="connsiteX202" fmla="*/ 1497744 w 42118086"/>
              <a:gd name="connsiteY202" fmla="*/ 3956654 h 6975464"/>
              <a:gd name="connsiteX203" fmla="*/ 1484336 w 42118086"/>
              <a:gd name="connsiteY203" fmla="*/ 3966905 h 6975464"/>
              <a:gd name="connsiteX204" fmla="*/ 1484336 w 42118086"/>
              <a:gd name="connsiteY204" fmla="*/ 4299679 h 6975464"/>
              <a:gd name="connsiteX205" fmla="*/ 1122322 w 42118086"/>
              <a:gd name="connsiteY205" fmla="*/ 4579618 h 6975464"/>
              <a:gd name="connsiteX206" fmla="*/ 1122322 w 42118086"/>
              <a:gd name="connsiteY206" fmla="*/ 4233439 h 6975464"/>
              <a:gd name="connsiteX207" fmla="*/ 1484336 w 42118086"/>
              <a:gd name="connsiteY207" fmla="*/ 3952712 h 6975464"/>
              <a:gd name="connsiteX208" fmla="*/ 1484336 w 42118086"/>
              <a:gd name="connsiteY208" fmla="*/ 3966117 h 6975464"/>
              <a:gd name="connsiteX209" fmla="*/ 1497744 w 42118086"/>
              <a:gd name="connsiteY209" fmla="*/ 3955866 h 6975464"/>
              <a:gd name="connsiteX210" fmla="*/ 1497744 w 42118086"/>
              <a:gd name="connsiteY210" fmla="*/ 3936152 h 6975464"/>
              <a:gd name="connsiteX211" fmla="*/ 1136519 w 42118086"/>
              <a:gd name="connsiteY211" fmla="*/ 3661732 h 6975464"/>
              <a:gd name="connsiteX212" fmla="*/ 1125477 w 42118086"/>
              <a:gd name="connsiteY212" fmla="*/ 3669618 h 6975464"/>
              <a:gd name="connsiteX213" fmla="*/ 1135730 w 42118086"/>
              <a:gd name="connsiteY213" fmla="*/ 3660943 h 6975464"/>
              <a:gd name="connsiteX214" fmla="*/ 1119956 w 42118086"/>
              <a:gd name="connsiteY214" fmla="*/ 3649115 h 6975464"/>
              <a:gd name="connsiteX215" fmla="*/ 1119956 w 42118086"/>
              <a:gd name="connsiteY215" fmla="*/ 3637286 h 6975464"/>
              <a:gd name="connsiteX216" fmla="*/ 1106548 w 42118086"/>
              <a:gd name="connsiteY216" fmla="*/ 3637286 h 6975464"/>
              <a:gd name="connsiteX217" fmla="*/ 1106548 w 42118086"/>
              <a:gd name="connsiteY217" fmla="*/ 3649903 h 6975464"/>
              <a:gd name="connsiteX218" fmla="*/ 744534 w 42118086"/>
              <a:gd name="connsiteY218" fmla="*/ 3929843 h 6975464"/>
              <a:gd name="connsiteX219" fmla="*/ 744534 w 42118086"/>
              <a:gd name="connsiteY219" fmla="*/ 3612841 h 6975464"/>
              <a:gd name="connsiteX220" fmla="*/ 744534 w 42118086"/>
              <a:gd name="connsiteY220" fmla="*/ 3584453 h 6975464"/>
              <a:gd name="connsiteX221" fmla="*/ 1106548 w 42118086"/>
              <a:gd name="connsiteY221" fmla="*/ 3303725 h 6975464"/>
              <a:gd name="connsiteX222" fmla="*/ 1106548 w 42118086"/>
              <a:gd name="connsiteY222" fmla="*/ 3617573 h 6975464"/>
              <a:gd name="connsiteX223" fmla="*/ 1106548 w 42118086"/>
              <a:gd name="connsiteY223" fmla="*/ 3636498 h 6975464"/>
              <a:gd name="connsiteX224" fmla="*/ 1119956 w 42118086"/>
              <a:gd name="connsiteY224" fmla="*/ 3636498 h 6975464"/>
              <a:gd name="connsiteX225" fmla="*/ 1119956 w 42118086"/>
              <a:gd name="connsiteY225" fmla="*/ 3298205 h 6975464"/>
              <a:gd name="connsiteX226" fmla="*/ 1392847 w 42118086"/>
              <a:gd name="connsiteY226" fmla="*/ 3086870 h 6975464"/>
              <a:gd name="connsiteX227" fmla="*/ 1483547 w 42118086"/>
              <a:gd name="connsiteY227" fmla="*/ 3016688 h 6975464"/>
              <a:gd name="connsiteX228" fmla="*/ 1862913 w 42118086"/>
              <a:gd name="connsiteY228" fmla="*/ 3304513 h 6975464"/>
              <a:gd name="connsiteX229" fmla="*/ 2243855 w 42118086"/>
              <a:gd name="connsiteY229" fmla="*/ 3008803 h 6975464"/>
              <a:gd name="connsiteX230" fmla="*/ 2243855 w 42118086"/>
              <a:gd name="connsiteY230" fmla="*/ 2891307 h 6975464"/>
              <a:gd name="connsiteX231" fmla="*/ 2231236 w 42118086"/>
              <a:gd name="connsiteY231" fmla="*/ 2896827 h 6975464"/>
              <a:gd name="connsiteX232" fmla="*/ 2231236 w 42118086"/>
              <a:gd name="connsiteY232" fmla="*/ 3002494 h 6975464"/>
              <a:gd name="connsiteX233" fmla="*/ 1869222 w 42118086"/>
              <a:gd name="connsiteY233" fmla="*/ 3283222 h 6975464"/>
              <a:gd name="connsiteX234" fmla="*/ 1869222 w 42118086"/>
              <a:gd name="connsiteY234" fmla="*/ 2937043 h 6975464"/>
              <a:gd name="connsiteX235" fmla="*/ 2231236 w 42118086"/>
              <a:gd name="connsiteY235" fmla="*/ 2656315 h 6975464"/>
              <a:gd name="connsiteX236" fmla="*/ 2231236 w 42118086"/>
              <a:gd name="connsiteY236" fmla="*/ 2896038 h 6975464"/>
              <a:gd name="connsiteX237" fmla="*/ 2243855 w 42118086"/>
              <a:gd name="connsiteY237" fmla="*/ 2890518 h 6975464"/>
              <a:gd name="connsiteX238" fmla="*/ 2243855 w 42118086"/>
              <a:gd name="connsiteY238" fmla="*/ 2639755 h 6975464"/>
              <a:gd name="connsiteX239" fmla="*/ 2113720 w 42118086"/>
              <a:gd name="connsiteY239" fmla="*/ 2540397 h 6975464"/>
              <a:gd name="connsiteX240" fmla="*/ 2100312 w 42118086"/>
              <a:gd name="connsiteY240" fmla="*/ 2546705 h 6975464"/>
              <a:gd name="connsiteX241" fmla="*/ 2226503 w 42118086"/>
              <a:gd name="connsiteY241" fmla="*/ 2642910 h 6975464"/>
              <a:gd name="connsiteX242" fmla="*/ 1862124 w 42118086"/>
              <a:gd name="connsiteY242" fmla="*/ 2925215 h 6975464"/>
              <a:gd name="connsiteX243" fmla="*/ 1496955 w 42118086"/>
              <a:gd name="connsiteY243" fmla="*/ 2647641 h 6975464"/>
              <a:gd name="connsiteX244" fmla="*/ 1861335 w 42118086"/>
              <a:gd name="connsiteY244" fmla="*/ 2365336 h 6975464"/>
              <a:gd name="connsiteX245" fmla="*/ 2099523 w 42118086"/>
              <a:gd name="connsiteY245" fmla="*/ 2545916 h 6975464"/>
              <a:gd name="connsiteX246" fmla="*/ 2112931 w 42118086"/>
              <a:gd name="connsiteY246" fmla="*/ 2539608 h 6975464"/>
              <a:gd name="connsiteX247" fmla="*/ 1870800 w 42118086"/>
              <a:gd name="connsiteY247" fmla="*/ 2355873 h 6975464"/>
              <a:gd name="connsiteX248" fmla="*/ 1870800 w 42118086"/>
              <a:gd name="connsiteY248" fmla="*/ 2176869 h 6975464"/>
              <a:gd name="connsiteX249" fmla="*/ 1857392 w 42118086"/>
              <a:gd name="connsiteY249" fmla="*/ 2178447 h 6975464"/>
              <a:gd name="connsiteX250" fmla="*/ 1857392 w 42118086"/>
              <a:gd name="connsiteY250" fmla="*/ 2350353 h 6975464"/>
              <a:gd name="connsiteX251" fmla="*/ 1496167 w 42118086"/>
              <a:gd name="connsiteY251" fmla="*/ 2631081 h 6975464"/>
              <a:gd name="connsiteX252" fmla="*/ 1496167 w 42118086"/>
              <a:gd name="connsiteY252" fmla="*/ 2284114 h 6975464"/>
              <a:gd name="connsiteX253" fmla="*/ 1666526 w 42118086"/>
              <a:gd name="connsiteY253" fmla="*/ 2152424 h 6975464"/>
              <a:gd name="connsiteX254" fmla="*/ 1658639 w 42118086"/>
              <a:gd name="connsiteY254" fmla="*/ 2141384 h 6975464"/>
              <a:gd name="connsiteX255" fmla="*/ 1666526 w 42118086"/>
              <a:gd name="connsiteY255" fmla="*/ 2151636 h 6975464"/>
              <a:gd name="connsiteX256" fmla="*/ 1857392 w 42118086"/>
              <a:gd name="connsiteY256" fmla="*/ 2003386 h 6975464"/>
              <a:gd name="connsiteX257" fmla="*/ 1857392 w 42118086"/>
              <a:gd name="connsiteY257" fmla="*/ 2177658 h 6975464"/>
              <a:gd name="connsiteX258" fmla="*/ 1870800 w 42118086"/>
              <a:gd name="connsiteY258" fmla="*/ 2176081 h 6975464"/>
              <a:gd name="connsiteX259" fmla="*/ 1870800 w 42118086"/>
              <a:gd name="connsiteY259" fmla="*/ 1998654 h 6975464"/>
              <a:gd name="connsiteX260" fmla="*/ 1886574 w 42118086"/>
              <a:gd name="connsiteY260" fmla="*/ 1986037 h 6975464"/>
              <a:gd name="connsiteX261" fmla="*/ 1886574 w 42118086"/>
              <a:gd name="connsiteY261" fmla="*/ 1969478 h 6975464"/>
              <a:gd name="connsiteX262" fmla="*/ 1869222 w 42118086"/>
              <a:gd name="connsiteY262" fmla="*/ 1982883 h 6975464"/>
              <a:gd name="connsiteX263" fmla="*/ 1869222 w 42118086"/>
              <a:gd name="connsiteY263" fmla="*/ 1636704 h 6975464"/>
              <a:gd name="connsiteX264" fmla="*/ 1886574 w 42118086"/>
              <a:gd name="connsiteY264" fmla="*/ 1623299 h 6975464"/>
              <a:gd name="connsiteX265" fmla="*/ 1886574 w 42118086"/>
              <a:gd name="connsiteY265" fmla="*/ 1606739 h 6975464"/>
              <a:gd name="connsiteX266" fmla="*/ 1862124 w 42118086"/>
              <a:gd name="connsiteY266" fmla="*/ 1625665 h 6975464"/>
              <a:gd name="connsiteX267" fmla="*/ 1496955 w 42118086"/>
              <a:gd name="connsiteY267" fmla="*/ 1348091 h 6975464"/>
              <a:gd name="connsiteX268" fmla="*/ 1861335 w 42118086"/>
              <a:gd name="connsiteY268" fmla="*/ 1064997 h 6975464"/>
              <a:gd name="connsiteX269" fmla="*/ 2226503 w 42118086"/>
              <a:gd name="connsiteY269" fmla="*/ 1342571 h 6975464"/>
              <a:gd name="connsiteX270" fmla="*/ 1887362 w 42118086"/>
              <a:gd name="connsiteY270" fmla="*/ 1605951 h 6975464"/>
              <a:gd name="connsiteX271" fmla="*/ 1887362 w 42118086"/>
              <a:gd name="connsiteY271" fmla="*/ 1622510 h 6975464"/>
              <a:gd name="connsiteX272" fmla="*/ 2231236 w 42118086"/>
              <a:gd name="connsiteY272" fmla="*/ 1355976 h 6975464"/>
              <a:gd name="connsiteX273" fmla="*/ 2231236 w 42118086"/>
              <a:gd name="connsiteY273" fmla="*/ 1702944 h 6975464"/>
              <a:gd name="connsiteX274" fmla="*/ 1887362 w 42118086"/>
              <a:gd name="connsiteY274" fmla="*/ 1968689 h 6975464"/>
              <a:gd name="connsiteX275" fmla="*/ 1887362 w 42118086"/>
              <a:gd name="connsiteY275" fmla="*/ 1985249 h 6975464"/>
              <a:gd name="connsiteX276" fmla="*/ 2243855 w 42118086"/>
              <a:gd name="connsiteY276" fmla="*/ 1709252 h 6975464"/>
              <a:gd name="connsiteX277" fmla="*/ 2243855 w 42118086"/>
              <a:gd name="connsiteY277" fmla="*/ 1339416 h 6975464"/>
              <a:gd name="connsiteX278" fmla="*/ 1870800 w 42118086"/>
              <a:gd name="connsiteY278" fmla="*/ 1056323 h 6975464"/>
              <a:gd name="connsiteX279" fmla="*/ 1870800 w 42118086"/>
              <a:gd name="connsiteY279" fmla="*/ 707778 h 6975464"/>
              <a:gd name="connsiteX280" fmla="*/ 1857392 w 42118086"/>
              <a:gd name="connsiteY280" fmla="*/ 718030 h 6975464"/>
              <a:gd name="connsiteX281" fmla="*/ 1857392 w 42118086"/>
              <a:gd name="connsiteY281" fmla="*/ 1050803 h 6975464"/>
              <a:gd name="connsiteX282" fmla="*/ 1496167 w 42118086"/>
              <a:gd name="connsiteY282" fmla="*/ 1331531 h 6975464"/>
              <a:gd name="connsiteX283" fmla="*/ 1496167 w 42118086"/>
              <a:gd name="connsiteY283" fmla="*/ 985352 h 6975464"/>
              <a:gd name="connsiteX284" fmla="*/ 1857392 w 42118086"/>
              <a:gd name="connsiteY284" fmla="*/ 704624 h 6975464"/>
              <a:gd name="connsiteX285" fmla="*/ 1857392 w 42118086"/>
              <a:gd name="connsiteY285" fmla="*/ 717241 h 6975464"/>
              <a:gd name="connsiteX286" fmla="*/ 1870800 w 42118086"/>
              <a:gd name="connsiteY286" fmla="*/ 706990 h 6975464"/>
              <a:gd name="connsiteX287" fmla="*/ 1870800 w 42118086"/>
              <a:gd name="connsiteY287" fmla="*/ 688064 h 6975464"/>
              <a:gd name="connsiteX288" fmla="*/ 1509574 w 42118086"/>
              <a:gd name="connsiteY288" fmla="*/ 412856 h 6975464"/>
              <a:gd name="connsiteX289" fmla="*/ 1498533 w 42118086"/>
              <a:gd name="connsiteY289" fmla="*/ 421530 h 6975464"/>
              <a:gd name="connsiteX290" fmla="*/ 1508786 w 42118086"/>
              <a:gd name="connsiteY290" fmla="*/ 412856 h 6975464"/>
              <a:gd name="connsiteX291" fmla="*/ 1493012 w 42118086"/>
              <a:gd name="connsiteY291" fmla="*/ 401028 h 6975464"/>
              <a:gd name="connsiteX292" fmla="*/ 1493012 w 42118086"/>
              <a:gd name="connsiteY292" fmla="*/ 119417 h 6975464"/>
              <a:gd name="connsiteX293" fmla="*/ 1493012 w 42118086"/>
              <a:gd name="connsiteY293" fmla="*/ 117464 h 6975464"/>
              <a:gd name="connsiteX294" fmla="*/ 1398859 w 42118086"/>
              <a:gd name="connsiteY294" fmla="*/ 117464 h 6975464"/>
              <a:gd name="connsiteX295" fmla="*/ 1480393 w 42118086"/>
              <a:gd name="connsiteY295" fmla="*/ 117464 h 6975464"/>
              <a:gd name="connsiteX296" fmla="*/ 1480393 w 42118086"/>
              <a:gd name="connsiteY296" fmla="*/ 201868 h 6975464"/>
              <a:gd name="connsiteX297" fmla="*/ 1480393 w 42118086"/>
              <a:gd name="connsiteY297" fmla="*/ 401028 h 6975464"/>
              <a:gd name="connsiteX298" fmla="*/ 1118379 w 42118086"/>
              <a:gd name="connsiteY298" fmla="*/ 681756 h 6975464"/>
              <a:gd name="connsiteX299" fmla="*/ 1118379 w 42118086"/>
              <a:gd name="connsiteY299" fmla="*/ 335577 h 6975464"/>
              <a:gd name="connsiteX300" fmla="*/ 1379242 w 42118086"/>
              <a:gd name="connsiteY300" fmla="*/ 132719 h 6975464"/>
              <a:gd name="connsiteX301" fmla="*/ 1398859 w 42118086"/>
              <a:gd name="connsiteY301" fmla="*/ 117464 h 6975464"/>
              <a:gd name="connsiteX302" fmla="*/ 840168 w 42118086"/>
              <a:gd name="connsiteY302" fmla="*/ 117464 h 6975464"/>
              <a:gd name="connsiteX303" fmla="*/ 1377550 w 42118086"/>
              <a:gd name="connsiteY303" fmla="*/ 117464 h 6975464"/>
              <a:gd name="connsiteX304" fmla="*/ 1301753 w 42118086"/>
              <a:gd name="connsiteY304" fmla="*/ 176360 h 6975464"/>
              <a:gd name="connsiteX305" fmla="*/ 1112069 w 42118086"/>
              <a:gd name="connsiteY305" fmla="*/ 323748 h 6975464"/>
              <a:gd name="connsiteX306" fmla="*/ 857417 w 42118086"/>
              <a:gd name="connsiteY306" fmla="*/ 130551 h 6975464"/>
              <a:gd name="connsiteX307" fmla="*/ 840168 w 42118086"/>
              <a:gd name="connsiteY307" fmla="*/ 117464 h 6975464"/>
              <a:gd name="connsiteX0" fmla="*/ 738225 w 42198532"/>
              <a:gd name="connsiteY0" fmla="*/ 6911396 h 6975464"/>
              <a:gd name="connsiteX1" fmla="*/ 814828 w 42198532"/>
              <a:gd name="connsiteY1" fmla="*/ 6969750 h 6975464"/>
              <a:gd name="connsiteX2" fmla="*/ 822329 w 42198532"/>
              <a:gd name="connsiteY2" fmla="*/ 6975464 h 6975464"/>
              <a:gd name="connsiteX3" fmla="*/ 655724 w 42198532"/>
              <a:gd name="connsiteY3" fmla="*/ 6975464 h 6975464"/>
              <a:gd name="connsiteX4" fmla="*/ 656989 w 42198532"/>
              <a:gd name="connsiteY4" fmla="*/ 6974481 h 6975464"/>
              <a:gd name="connsiteX5" fmla="*/ 738225 w 42198532"/>
              <a:gd name="connsiteY5" fmla="*/ 6911396 h 6975464"/>
              <a:gd name="connsiteX6" fmla="*/ 733493 w 42198532"/>
              <a:gd name="connsiteY6" fmla="*/ 6551812 h 6975464"/>
              <a:gd name="connsiteX7" fmla="*/ 733493 w 42198532"/>
              <a:gd name="connsiteY7" fmla="*/ 6897991 h 6975464"/>
              <a:gd name="connsiteX8" fmla="*/ 639637 w 42198532"/>
              <a:gd name="connsiteY8" fmla="*/ 6970539 h 6975464"/>
              <a:gd name="connsiteX9" fmla="*/ 656989 w 42198532"/>
              <a:gd name="connsiteY9" fmla="*/ 6974481 h 6975464"/>
              <a:gd name="connsiteX10" fmla="*/ 638848 w 42198532"/>
              <a:gd name="connsiteY10" fmla="*/ 6971327 h 6975464"/>
              <a:gd name="connsiteX11" fmla="*/ 633515 w 42198532"/>
              <a:gd name="connsiteY11" fmla="*/ 6975464 h 6975464"/>
              <a:gd name="connsiteX12" fmla="*/ 371479 w 42198532"/>
              <a:gd name="connsiteY12" fmla="*/ 6975464 h 6975464"/>
              <a:gd name="connsiteX13" fmla="*/ 371479 w 42198532"/>
              <a:gd name="connsiteY13" fmla="*/ 6917056 h 6975464"/>
              <a:gd name="connsiteX14" fmla="*/ 371479 w 42198532"/>
              <a:gd name="connsiteY14" fmla="*/ 6832540 h 6975464"/>
              <a:gd name="connsiteX15" fmla="*/ 733493 w 42198532"/>
              <a:gd name="connsiteY15" fmla="*/ 6551812 h 6975464"/>
              <a:gd name="connsiteX16" fmla="*/ 1106548 w 42198532"/>
              <a:gd name="connsiteY16" fmla="*/ 5904403 h 6975464"/>
              <a:gd name="connsiteX17" fmla="*/ 1106548 w 42198532"/>
              <a:gd name="connsiteY17" fmla="*/ 6251370 h 6975464"/>
              <a:gd name="connsiteX18" fmla="*/ 1012693 w 42198532"/>
              <a:gd name="connsiteY18" fmla="*/ 6323918 h 6975464"/>
              <a:gd name="connsiteX19" fmla="*/ 744534 w 42198532"/>
              <a:gd name="connsiteY19" fmla="*/ 6531309 h 6975464"/>
              <a:gd name="connsiteX20" fmla="*/ 744534 w 42198532"/>
              <a:gd name="connsiteY20" fmla="*/ 6185131 h 6975464"/>
              <a:gd name="connsiteX21" fmla="*/ 873093 w 42198532"/>
              <a:gd name="connsiteY21" fmla="*/ 6085772 h 6975464"/>
              <a:gd name="connsiteX22" fmla="*/ 1106548 w 42198532"/>
              <a:gd name="connsiteY22" fmla="*/ 5904403 h 6975464"/>
              <a:gd name="connsiteX23" fmla="*/ 1739875 w 42198532"/>
              <a:gd name="connsiteY23" fmla="*/ 5788484 h 6975464"/>
              <a:gd name="connsiteX24" fmla="*/ 1726467 w 42198532"/>
              <a:gd name="connsiteY24" fmla="*/ 5794792 h 6975464"/>
              <a:gd name="connsiteX25" fmla="*/ 1739875 w 42198532"/>
              <a:gd name="connsiteY25" fmla="*/ 5788484 h 6975464"/>
              <a:gd name="connsiteX26" fmla="*/ 1488280 w 42198532"/>
              <a:gd name="connsiteY26" fmla="*/ 5613423 h 6975464"/>
              <a:gd name="connsiteX27" fmla="*/ 1726467 w 42198532"/>
              <a:gd name="connsiteY27" fmla="*/ 5794792 h 6975464"/>
              <a:gd name="connsiteX28" fmla="*/ 1853448 w 42198532"/>
              <a:gd name="connsiteY28" fmla="*/ 5890997 h 6975464"/>
              <a:gd name="connsiteX29" fmla="*/ 1489068 w 42198532"/>
              <a:gd name="connsiteY29" fmla="*/ 6174091 h 6975464"/>
              <a:gd name="connsiteX30" fmla="*/ 1123900 w 42198532"/>
              <a:gd name="connsiteY30" fmla="*/ 5896517 h 6975464"/>
              <a:gd name="connsiteX31" fmla="*/ 1488280 w 42198532"/>
              <a:gd name="connsiteY31" fmla="*/ 5613423 h 6975464"/>
              <a:gd name="connsiteX32" fmla="*/ 359648 w 42198532"/>
              <a:gd name="connsiteY32" fmla="*/ 4965225 h 6975464"/>
              <a:gd name="connsiteX33" fmla="*/ 724817 w 42198532"/>
              <a:gd name="connsiteY33" fmla="*/ 5242799 h 6975464"/>
              <a:gd name="connsiteX34" fmla="*/ 487418 w 42198532"/>
              <a:gd name="connsiteY34" fmla="*/ 5426534 h 6975464"/>
              <a:gd name="connsiteX35" fmla="*/ 493727 w 42198532"/>
              <a:gd name="connsiteY35" fmla="*/ 5437574 h 6975464"/>
              <a:gd name="connsiteX36" fmla="*/ 733493 w 42198532"/>
              <a:gd name="connsiteY36" fmla="*/ 5252262 h 6975464"/>
              <a:gd name="connsiteX37" fmla="*/ 733493 w 42198532"/>
              <a:gd name="connsiteY37" fmla="*/ 5598440 h 6975464"/>
              <a:gd name="connsiteX38" fmla="*/ 633328 w 42198532"/>
              <a:gd name="connsiteY38" fmla="*/ 5675720 h 6975464"/>
              <a:gd name="connsiteX39" fmla="*/ 641215 w 42198532"/>
              <a:gd name="connsiteY39" fmla="*/ 5688337 h 6975464"/>
              <a:gd name="connsiteX40" fmla="*/ 737436 w 42198532"/>
              <a:gd name="connsiteY40" fmla="*/ 5613423 h 6975464"/>
              <a:gd name="connsiteX41" fmla="*/ 1102605 w 42198532"/>
              <a:gd name="connsiteY41" fmla="*/ 5890997 h 6975464"/>
              <a:gd name="connsiteX42" fmla="*/ 866783 w 42198532"/>
              <a:gd name="connsiteY42" fmla="*/ 6073943 h 6975464"/>
              <a:gd name="connsiteX43" fmla="*/ 873093 w 42198532"/>
              <a:gd name="connsiteY43" fmla="*/ 6085772 h 6975464"/>
              <a:gd name="connsiteX44" fmla="*/ 865994 w 42198532"/>
              <a:gd name="connsiteY44" fmla="*/ 6074732 h 6975464"/>
              <a:gd name="connsiteX45" fmla="*/ 738225 w 42198532"/>
              <a:gd name="connsiteY45" fmla="*/ 6174091 h 6975464"/>
              <a:gd name="connsiteX46" fmla="*/ 373056 w 42198532"/>
              <a:gd name="connsiteY46" fmla="*/ 5896517 h 6975464"/>
              <a:gd name="connsiteX47" fmla="*/ 640426 w 42198532"/>
              <a:gd name="connsiteY47" fmla="*/ 5689125 h 6975464"/>
              <a:gd name="connsiteX48" fmla="*/ 633328 w 42198532"/>
              <a:gd name="connsiteY48" fmla="*/ 5676508 h 6975464"/>
              <a:gd name="connsiteX49" fmla="*/ 371479 w 42198532"/>
              <a:gd name="connsiteY49" fmla="*/ 5879169 h 6975464"/>
              <a:gd name="connsiteX50" fmla="*/ 371479 w 42198532"/>
              <a:gd name="connsiteY50" fmla="*/ 5532990 h 6975464"/>
              <a:gd name="connsiteX51" fmla="*/ 493727 w 42198532"/>
              <a:gd name="connsiteY51" fmla="*/ 5438362 h 6975464"/>
              <a:gd name="connsiteX52" fmla="*/ 486629 w 42198532"/>
              <a:gd name="connsiteY52" fmla="*/ 5426534 h 6975464"/>
              <a:gd name="connsiteX53" fmla="*/ 365169 w 42198532"/>
              <a:gd name="connsiteY53" fmla="*/ 5521161 h 6975464"/>
              <a:gd name="connsiteX54" fmla="*/ 0 w 42198532"/>
              <a:gd name="connsiteY54" fmla="*/ 5243588 h 6975464"/>
              <a:gd name="connsiteX55" fmla="*/ 359648 w 42198532"/>
              <a:gd name="connsiteY55" fmla="*/ 4965225 h 6975464"/>
              <a:gd name="connsiteX56" fmla="*/ 1106548 w 42198532"/>
              <a:gd name="connsiteY56" fmla="*/ 4604852 h 6975464"/>
              <a:gd name="connsiteX57" fmla="*/ 1106548 w 42198532"/>
              <a:gd name="connsiteY57" fmla="*/ 4951031 h 6975464"/>
              <a:gd name="connsiteX58" fmla="*/ 1018214 w 42198532"/>
              <a:gd name="connsiteY58" fmla="*/ 5019636 h 6975464"/>
              <a:gd name="connsiteX59" fmla="*/ 1025312 w 42198532"/>
              <a:gd name="connsiteY59" fmla="*/ 5030676 h 6975464"/>
              <a:gd name="connsiteX60" fmla="*/ 1017425 w 42198532"/>
              <a:gd name="connsiteY60" fmla="*/ 5020424 h 6975464"/>
              <a:gd name="connsiteX61" fmla="*/ 744534 w 42198532"/>
              <a:gd name="connsiteY61" fmla="*/ 5231759 h 6975464"/>
              <a:gd name="connsiteX62" fmla="*/ 744534 w 42198532"/>
              <a:gd name="connsiteY62" fmla="*/ 4885580 h 6975464"/>
              <a:gd name="connsiteX63" fmla="*/ 856530 w 42198532"/>
              <a:gd name="connsiteY63" fmla="*/ 4798050 h 6975464"/>
              <a:gd name="connsiteX64" fmla="*/ 849432 w 42198532"/>
              <a:gd name="connsiteY64" fmla="*/ 4787799 h 6975464"/>
              <a:gd name="connsiteX65" fmla="*/ 857319 w 42198532"/>
              <a:gd name="connsiteY65" fmla="*/ 4798050 h 6975464"/>
              <a:gd name="connsiteX66" fmla="*/ 1106548 w 42198532"/>
              <a:gd name="connsiteY66" fmla="*/ 4604852 h 6975464"/>
              <a:gd name="connsiteX67" fmla="*/ 737436 w 42198532"/>
              <a:gd name="connsiteY67" fmla="*/ 4313873 h 6975464"/>
              <a:gd name="connsiteX68" fmla="*/ 1102605 w 42198532"/>
              <a:gd name="connsiteY68" fmla="*/ 4591447 h 6975464"/>
              <a:gd name="connsiteX69" fmla="*/ 849432 w 42198532"/>
              <a:gd name="connsiteY69" fmla="*/ 4787799 h 6975464"/>
              <a:gd name="connsiteX70" fmla="*/ 738225 w 42198532"/>
              <a:gd name="connsiteY70" fmla="*/ 4873752 h 6975464"/>
              <a:gd name="connsiteX71" fmla="*/ 373056 w 42198532"/>
              <a:gd name="connsiteY71" fmla="*/ 4596178 h 6975464"/>
              <a:gd name="connsiteX72" fmla="*/ 737436 w 42198532"/>
              <a:gd name="connsiteY72" fmla="*/ 4313873 h 6975464"/>
              <a:gd name="connsiteX73" fmla="*/ 1115224 w 42198532"/>
              <a:gd name="connsiteY73" fmla="*/ 3661732 h 6975464"/>
              <a:gd name="connsiteX74" fmla="*/ 1125477 w 42198532"/>
              <a:gd name="connsiteY74" fmla="*/ 3669618 h 6975464"/>
              <a:gd name="connsiteX75" fmla="*/ 1480393 w 42198532"/>
              <a:gd name="connsiteY75" fmla="*/ 3939306 h 6975464"/>
              <a:gd name="connsiteX76" fmla="*/ 1116013 w 42198532"/>
              <a:gd name="connsiteY76" fmla="*/ 4222399 h 6975464"/>
              <a:gd name="connsiteX77" fmla="*/ 750844 w 42198532"/>
              <a:gd name="connsiteY77" fmla="*/ 3944037 h 6975464"/>
              <a:gd name="connsiteX78" fmla="*/ 1115224 w 42198532"/>
              <a:gd name="connsiteY78" fmla="*/ 3661732 h 6975464"/>
              <a:gd name="connsiteX79" fmla="*/ 1480393 w 42198532"/>
              <a:gd name="connsiteY79" fmla="*/ 2656315 h 6975464"/>
              <a:gd name="connsiteX80" fmla="*/ 1480393 w 42198532"/>
              <a:gd name="connsiteY80" fmla="*/ 3002494 h 6975464"/>
              <a:gd name="connsiteX81" fmla="*/ 1386537 w 42198532"/>
              <a:gd name="connsiteY81" fmla="*/ 3075042 h 6975464"/>
              <a:gd name="connsiteX82" fmla="*/ 1392847 w 42198532"/>
              <a:gd name="connsiteY82" fmla="*/ 3086870 h 6975464"/>
              <a:gd name="connsiteX83" fmla="*/ 1385748 w 42198532"/>
              <a:gd name="connsiteY83" fmla="*/ 3075830 h 6975464"/>
              <a:gd name="connsiteX84" fmla="*/ 1118379 w 42198532"/>
              <a:gd name="connsiteY84" fmla="*/ 3283222 h 6975464"/>
              <a:gd name="connsiteX85" fmla="*/ 1118379 w 42198532"/>
              <a:gd name="connsiteY85" fmla="*/ 2937043 h 6975464"/>
              <a:gd name="connsiteX86" fmla="*/ 1246148 w 42198532"/>
              <a:gd name="connsiteY86" fmla="*/ 2837685 h 6975464"/>
              <a:gd name="connsiteX87" fmla="*/ 1239839 w 42198532"/>
              <a:gd name="connsiteY87" fmla="*/ 2825856 h 6975464"/>
              <a:gd name="connsiteX88" fmla="*/ 1246937 w 42198532"/>
              <a:gd name="connsiteY88" fmla="*/ 2836896 h 6975464"/>
              <a:gd name="connsiteX89" fmla="*/ 1480393 w 42198532"/>
              <a:gd name="connsiteY89" fmla="*/ 2656315 h 6975464"/>
              <a:gd name="connsiteX90" fmla="*/ 732704 w 42198532"/>
              <a:gd name="connsiteY90" fmla="*/ 1716349 h 6975464"/>
              <a:gd name="connsiteX91" fmla="*/ 1097873 w 42198532"/>
              <a:gd name="connsiteY91" fmla="*/ 1993923 h 6975464"/>
              <a:gd name="connsiteX92" fmla="*/ 860473 w 42198532"/>
              <a:gd name="connsiteY92" fmla="*/ 2177658 h 6975464"/>
              <a:gd name="connsiteX93" fmla="*/ 867572 w 42198532"/>
              <a:gd name="connsiteY93" fmla="*/ 2189486 h 6975464"/>
              <a:gd name="connsiteX94" fmla="*/ 1106548 w 42198532"/>
              <a:gd name="connsiteY94" fmla="*/ 2003386 h 6975464"/>
              <a:gd name="connsiteX95" fmla="*/ 1106548 w 42198532"/>
              <a:gd name="connsiteY95" fmla="*/ 2350353 h 6975464"/>
              <a:gd name="connsiteX96" fmla="*/ 1007172 w 42198532"/>
              <a:gd name="connsiteY96" fmla="*/ 2427632 h 6975464"/>
              <a:gd name="connsiteX97" fmla="*/ 1014270 w 42198532"/>
              <a:gd name="connsiteY97" fmla="*/ 2440249 h 6975464"/>
              <a:gd name="connsiteX98" fmla="*/ 1110492 w 42198532"/>
              <a:gd name="connsiteY98" fmla="*/ 2365336 h 6975464"/>
              <a:gd name="connsiteX99" fmla="*/ 1475660 w 42198532"/>
              <a:gd name="connsiteY99" fmla="*/ 2642910 h 6975464"/>
              <a:gd name="connsiteX100" fmla="*/ 1239839 w 42198532"/>
              <a:gd name="connsiteY100" fmla="*/ 2825856 h 6975464"/>
              <a:gd name="connsiteX101" fmla="*/ 1112069 w 42198532"/>
              <a:gd name="connsiteY101" fmla="*/ 2925215 h 6975464"/>
              <a:gd name="connsiteX102" fmla="*/ 746900 w 42198532"/>
              <a:gd name="connsiteY102" fmla="*/ 2647641 h 6975464"/>
              <a:gd name="connsiteX103" fmla="*/ 1013481 w 42198532"/>
              <a:gd name="connsiteY103" fmla="*/ 2440249 h 6975464"/>
              <a:gd name="connsiteX104" fmla="*/ 1006383 w 42198532"/>
              <a:gd name="connsiteY104" fmla="*/ 2427632 h 6975464"/>
              <a:gd name="connsiteX105" fmla="*/ 744534 w 42198532"/>
              <a:gd name="connsiteY105" fmla="*/ 2631081 h 6975464"/>
              <a:gd name="connsiteX106" fmla="*/ 744534 w 42198532"/>
              <a:gd name="connsiteY106" fmla="*/ 2284114 h 6975464"/>
              <a:gd name="connsiteX107" fmla="*/ 866783 w 42198532"/>
              <a:gd name="connsiteY107" fmla="*/ 2189486 h 6975464"/>
              <a:gd name="connsiteX108" fmla="*/ 860473 w 42198532"/>
              <a:gd name="connsiteY108" fmla="*/ 2178447 h 6975464"/>
              <a:gd name="connsiteX109" fmla="*/ 738225 w 42198532"/>
              <a:gd name="connsiteY109" fmla="*/ 2273074 h 6975464"/>
              <a:gd name="connsiteX110" fmla="*/ 373056 w 42198532"/>
              <a:gd name="connsiteY110" fmla="*/ 1995500 h 6975464"/>
              <a:gd name="connsiteX111" fmla="*/ 732704 w 42198532"/>
              <a:gd name="connsiteY111" fmla="*/ 1716349 h 6975464"/>
              <a:gd name="connsiteX112" fmla="*/ 1480393 w 42198532"/>
              <a:gd name="connsiteY112" fmla="*/ 1355976 h 6975464"/>
              <a:gd name="connsiteX113" fmla="*/ 1480393 w 42198532"/>
              <a:gd name="connsiteY113" fmla="*/ 1702944 h 6975464"/>
              <a:gd name="connsiteX114" fmla="*/ 1391269 w 42198532"/>
              <a:gd name="connsiteY114" fmla="*/ 1771549 h 6975464"/>
              <a:gd name="connsiteX115" fmla="*/ 1399156 w 42198532"/>
              <a:gd name="connsiteY115" fmla="*/ 1781800 h 6975464"/>
              <a:gd name="connsiteX116" fmla="*/ 1483547 w 42198532"/>
              <a:gd name="connsiteY116" fmla="*/ 1716349 h 6975464"/>
              <a:gd name="connsiteX117" fmla="*/ 1848716 w 42198532"/>
              <a:gd name="connsiteY117" fmla="*/ 1993923 h 6975464"/>
              <a:gd name="connsiteX118" fmla="*/ 1658639 w 42198532"/>
              <a:gd name="connsiteY118" fmla="*/ 2141384 h 6975464"/>
              <a:gd name="connsiteX119" fmla="*/ 1489068 w 42198532"/>
              <a:gd name="connsiteY119" fmla="*/ 2273074 h 6975464"/>
              <a:gd name="connsiteX120" fmla="*/ 1123900 w 42198532"/>
              <a:gd name="connsiteY120" fmla="*/ 1995500 h 6975464"/>
              <a:gd name="connsiteX121" fmla="*/ 1398368 w 42198532"/>
              <a:gd name="connsiteY121" fmla="*/ 1782588 h 6975464"/>
              <a:gd name="connsiteX122" fmla="*/ 1390481 w 42198532"/>
              <a:gd name="connsiteY122" fmla="*/ 1771549 h 6975464"/>
              <a:gd name="connsiteX123" fmla="*/ 1118379 w 42198532"/>
              <a:gd name="connsiteY123" fmla="*/ 1982883 h 6975464"/>
              <a:gd name="connsiteX124" fmla="*/ 1118379 w 42198532"/>
              <a:gd name="connsiteY124" fmla="*/ 1636704 h 6975464"/>
              <a:gd name="connsiteX125" fmla="*/ 1230374 w 42198532"/>
              <a:gd name="connsiteY125" fmla="*/ 1549963 h 6975464"/>
              <a:gd name="connsiteX126" fmla="*/ 1480393 w 42198532"/>
              <a:gd name="connsiteY126" fmla="*/ 1355976 h 6975464"/>
              <a:gd name="connsiteX127" fmla="*/ 1110492 w 42198532"/>
              <a:gd name="connsiteY127" fmla="*/ 1064997 h 6975464"/>
              <a:gd name="connsiteX128" fmla="*/ 1475660 w 42198532"/>
              <a:gd name="connsiteY128" fmla="*/ 1342571 h 6975464"/>
              <a:gd name="connsiteX129" fmla="*/ 1223276 w 42198532"/>
              <a:gd name="connsiteY129" fmla="*/ 1538923 h 6975464"/>
              <a:gd name="connsiteX130" fmla="*/ 1230374 w 42198532"/>
              <a:gd name="connsiteY130" fmla="*/ 1549963 h 6975464"/>
              <a:gd name="connsiteX131" fmla="*/ 1222487 w 42198532"/>
              <a:gd name="connsiteY131" fmla="*/ 1539711 h 6975464"/>
              <a:gd name="connsiteX132" fmla="*/ 1112069 w 42198532"/>
              <a:gd name="connsiteY132" fmla="*/ 1625665 h 6975464"/>
              <a:gd name="connsiteX133" fmla="*/ 746900 w 42198532"/>
              <a:gd name="connsiteY133" fmla="*/ 1348091 h 6975464"/>
              <a:gd name="connsiteX134" fmla="*/ 1110492 w 42198532"/>
              <a:gd name="connsiteY134" fmla="*/ 1064997 h 6975464"/>
              <a:gd name="connsiteX135" fmla="*/ 1488280 w 42198532"/>
              <a:gd name="connsiteY135" fmla="*/ 413645 h 6975464"/>
              <a:gd name="connsiteX136" fmla="*/ 1498533 w 42198532"/>
              <a:gd name="connsiteY136" fmla="*/ 421530 h 6975464"/>
              <a:gd name="connsiteX137" fmla="*/ 1853448 w 42198532"/>
              <a:gd name="connsiteY137" fmla="*/ 691218 h 6975464"/>
              <a:gd name="connsiteX138" fmla="*/ 1489068 w 42198532"/>
              <a:gd name="connsiteY138" fmla="*/ 973524 h 6975464"/>
              <a:gd name="connsiteX139" fmla="*/ 1123900 w 42198532"/>
              <a:gd name="connsiteY139" fmla="*/ 695950 h 6975464"/>
              <a:gd name="connsiteX140" fmla="*/ 1488280 w 42198532"/>
              <a:gd name="connsiteY140" fmla="*/ 413645 h 6975464"/>
              <a:gd name="connsiteX141" fmla="*/ 1493012 w 42198532"/>
              <a:gd name="connsiteY141" fmla="*/ 117464 h 6975464"/>
              <a:gd name="connsiteX142" fmla="*/ 42118086 w 42198532"/>
              <a:gd name="connsiteY142" fmla="*/ 0 h 6975464"/>
              <a:gd name="connsiteX143" fmla="*/ 42198532 w 42198532"/>
              <a:gd name="connsiteY143" fmla="*/ 6799268 h 6975464"/>
              <a:gd name="connsiteX144" fmla="*/ 843615 w 42198532"/>
              <a:gd name="connsiteY144" fmla="*/ 6975464 h 6975464"/>
              <a:gd name="connsiteX145" fmla="*/ 810785 w 42198532"/>
              <a:gd name="connsiteY145" fmla="*/ 6950504 h 6975464"/>
              <a:gd name="connsiteX146" fmla="*/ 746900 w 42198532"/>
              <a:gd name="connsiteY146" fmla="*/ 6901934 h 6975464"/>
              <a:gd name="connsiteX147" fmla="*/ 746900 w 42198532"/>
              <a:gd name="connsiteY147" fmla="*/ 6547081 h 6975464"/>
              <a:gd name="connsiteX148" fmla="*/ 1019002 w 42198532"/>
              <a:gd name="connsiteY148" fmla="*/ 6335746 h 6975464"/>
              <a:gd name="connsiteX149" fmla="*/ 1012693 w 42198532"/>
              <a:gd name="connsiteY149" fmla="*/ 6323918 h 6975464"/>
              <a:gd name="connsiteX150" fmla="*/ 1019791 w 42198532"/>
              <a:gd name="connsiteY150" fmla="*/ 6334957 h 6975464"/>
              <a:gd name="connsiteX151" fmla="*/ 1110492 w 42198532"/>
              <a:gd name="connsiteY151" fmla="*/ 6264775 h 6975464"/>
              <a:gd name="connsiteX152" fmla="*/ 1489068 w 42198532"/>
              <a:gd name="connsiteY152" fmla="*/ 6553389 h 6975464"/>
              <a:gd name="connsiteX153" fmla="*/ 1870800 w 42198532"/>
              <a:gd name="connsiteY153" fmla="*/ 6257678 h 6975464"/>
              <a:gd name="connsiteX154" fmla="*/ 1870800 w 42198532"/>
              <a:gd name="connsiteY154" fmla="*/ 6139394 h 6975464"/>
              <a:gd name="connsiteX155" fmla="*/ 1857392 w 42198532"/>
              <a:gd name="connsiteY155" fmla="*/ 6144914 h 6975464"/>
              <a:gd name="connsiteX156" fmla="*/ 1857392 w 42198532"/>
              <a:gd name="connsiteY156" fmla="*/ 6251370 h 6975464"/>
              <a:gd name="connsiteX157" fmla="*/ 1495378 w 42198532"/>
              <a:gd name="connsiteY157" fmla="*/ 6531309 h 6975464"/>
              <a:gd name="connsiteX158" fmla="*/ 1495378 w 42198532"/>
              <a:gd name="connsiteY158" fmla="*/ 6185131 h 6975464"/>
              <a:gd name="connsiteX159" fmla="*/ 1857392 w 42198532"/>
              <a:gd name="connsiteY159" fmla="*/ 5904403 h 6975464"/>
              <a:gd name="connsiteX160" fmla="*/ 1857392 w 42198532"/>
              <a:gd name="connsiteY160" fmla="*/ 6144125 h 6975464"/>
              <a:gd name="connsiteX161" fmla="*/ 1870800 w 42198532"/>
              <a:gd name="connsiteY161" fmla="*/ 6138605 h 6975464"/>
              <a:gd name="connsiteX162" fmla="*/ 1870800 w 42198532"/>
              <a:gd name="connsiteY162" fmla="*/ 5887843 h 6975464"/>
              <a:gd name="connsiteX163" fmla="*/ 1739875 w 42198532"/>
              <a:gd name="connsiteY163" fmla="*/ 5788484 h 6975464"/>
              <a:gd name="connsiteX164" fmla="*/ 1497744 w 42198532"/>
              <a:gd name="connsiteY164" fmla="*/ 5604749 h 6975464"/>
              <a:gd name="connsiteX165" fmla="*/ 1497744 w 42198532"/>
              <a:gd name="connsiteY165" fmla="*/ 5424957 h 6975464"/>
              <a:gd name="connsiteX166" fmla="*/ 1484336 w 42198532"/>
              <a:gd name="connsiteY166" fmla="*/ 5427322 h 6975464"/>
              <a:gd name="connsiteX167" fmla="*/ 1484336 w 42198532"/>
              <a:gd name="connsiteY167" fmla="*/ 5598440 h 6975464"/>
              <a:gd name="connsiteX168" fmla="*/ 1122322 w 42198532"/>
              <a:gd name="connsiteY168" fmla="*/ 5879169 h 6975464"/>
              <a:gd name="connsiteX169" fmla="*/ 1122322 w 42198532"/>
              <a:gd name="connsiteY169" fmla="*/ 5532990 h 6975464"/>
              <a:gd name="connsiteX170" fmla="*/ 1292682 w 42198532"/>
              <a:gd name="connsiteY170" fmla="*/ 5400511 h 6975464"/>
              <a:gd name="connsiteX171" fmla="*/ 1285583 w 42198532"/>
              <a:gd name="connsiteY171" fmla="*/ 5390260 h 6975464"/>
              <a:gd name="connsiteX172" fmla="*/ 1116013 w 42198532"/>
              <a:gd name="connsiteY172" fmla="*/ 5521161 h 6975464"/>
              <a:gd name="connsiteX173" fmla="*/ 750844 w 42198532"/>
              <a:gd name="connsiteY173" fmla="*/ 5243588 h 6975464"/>
              <a:gd name="connsiteX174" fmla="*/ 1025312 w 42198532"/>
              <a:gd name="connsiteY174" fmla="*/ 5030676 h 6975464"/>
              <a:gd name="connsiteX175" fmla="*/ 1110492 w 42198532"/>
              <a:gd name="connsiteY175" fmla="*/ 4965225 h 6975464"/>
              <a:gd name="connsiteX176" fmla="*/ 1475660 w 42198532"/>
              <a:gd name="connsiteY176" fmla="*/ 5242799 h 6975464"/>
              <a:gd name="connsiteX177" fmla="*/ 1285583 w 42198532"/>
              <a:gd name="connsiteY177" fmla="*/ 5389472 h 6975464"/>
              <a:gd name="connsiteX178" fmla="*/ 1293470 w 42198532"/>
              <a:gd name="connsiteY178" fmla="*/ 5400511 h 6975464"/>
              <a:gd name="connsiteX179" fmla="*/ 1484336 w 42198532"/>
              <a:gd name="connsiteY179" fmla="*/ 5252262 h 6975464"/>
              <a:gd name="connsiteX180" fmla="*/ 1484336 w 42198532"/>
              <a:gd name="connsiteY180" fmla="*/ 5426534 h 6975464"/>
              <a:gd name="connsiteX181" fmla="*/ 1497744 w 42198532"/>
              <a:gd name="connsiteY181" fmla="*/ 5424168 h 6975464"/>
              <a:gd name="connsiteX182" fmla="*/ 1497744 w 42198532"/>
              <a:gd name="connsiteY182" fmla="*/ 5246742 h 6975464"/>
              <a:gd name="connsiteX183" fmla="*/ 1513518 w 42198532"/>
              <a:gd name="connsiteY183" fmla="*/ 5234125 h 6975464"/>
              <a:gd name="connsiteX184" fmla="*/ 1513518 w 42198532"/>
              <a:gd name="connsiteY184" fmla="*/ 5217565 h 6975464"/>
              <a:gd name="connsiteX185" fmla="*/ 1495378 w 42198532"/>
              <a:gd name="connsiteY185" fmla="*/ 5231759 h 6975464"/>
              <a:gd name="connsiteX186" fmla="*/ 1495378 w 42198532"/>
              <a:gd name="connsiteY186" fmla="*/ 4885580 h 6975464"/>
              <a:gd name="connsiteX187" fmla="*/ 1513518 w 42198532"/>
              <a:gd name="connsiteY187" fmla="*/ 4871386 h 6975464"/>
              <a:gd name="connsiteX188" fmla="*/ 1513518 w 42198532"/>
              <a:gd name="connsiteY188" fmla="*/ 4854826 h 6975464"/>
              <a:gd name="connsiteX189" fmla="*/ 1489068 w 42198532"/>
              <a:gd name="connsiteY189" fmla="*/ 4873752 h 6975464"/>
              <a:gd name="connsiteX190" fmla="*/ 1123900 w 42198532"/>
              <a:gd name="connsiteY190" fmla="*/ 4596178 h 6975464"/>
              <a:gd name="connsiteX191" fmla="*/ 1488280 w 42198532"/>
              <a:gd name="connsiteY191" fmla="*/ 4313873 h 6975464"/>
              <a:gd name="connsiteX192" fmla="*/ 1853448 w 42198532"/>
              <a:gd name="connsiteY192" fmla="*/ 4591447 h 6975464"/>
              <a:gd name="connsiteX193" fmla="*/ 1514307 w 42198532"/>
              <a:gd name="connsiteY193" fmla="*/ 4854826 h 6975464"/>
              <a:gd name="connsiteX194" fmla="*/ 1514307 w 42198532"/>
              <a:gd name="connsiteY194" fmla="*/ 4870598 h 6975464"/>
              <a:gd name="connsiteX195" fmla="*/ 1857392 w 42198532"/>
              <a:gd name="connsiteY195" fmla="*/ 4604852 h 6975464"/>
              <a:gd name="connsiteX196" fmla="*/ 1857392 w 42198532"/>
              <a:gd name="connsiteY196" fmla="*/ 4951031 h 6975464"/>
              <a:gd name="connsiteX197" fmla="*/ 1514307 w 42198532"/>
              <a:gd name="connsiteY197" fmla="*/ 5217565 h 6975464"/>
              <a:gd name="connsiteX198" fmla="*/ 1514307 w 42198532"/>
              <a:gd name="connsiteY198" fmla="*/ 5234125 h 6975464"/>
              <a:gd name="connsiteX199" fmla="*/ 1870800 w 42198532"/>
              <a:gd name="connsiteY199" fmla="*/ 4957339 h 6975464"/>
              <a:gd name="connsiteX200" fmla="*/ 1870800 w 42198532"/>
              <a:gd name="connsiteY200" fmla="*/ 4588292 h 6975464"/>
              <a:gd name="connsiteX201" fmla="*/ 1497744 w 42198532"/>
              <a:gd name="connsiteY201" fmla="*/ 4304410 h 6975464"/>
              <a:gd name="connsiteX202" fmla="*/ 1497744 w 42198532"/>
              <a:gd name="connsiteY202" fmla="*/ 3956654 h 6975464"/>
              <a:gd name="connsiteX203" fmla="*/ 1484336 w 42198532"/>
              <a:gd name="connsiteY203" fmla="*/ 3966905 h 6975464"/>
              <a:gd name="connsiteX204" fmla="*/ 1484336 w 42198532"/>
              <a:gd name="connsiteY204" fmla="*/ 4299679 h 6975464"/>
              <a:gd name="connsiteX205" fmla="*/ 1122322 w 42198532"/>
              <a:gd name="connsiteY205" fmla="*/ 4579618 h 6975464"/>
              <a:gd name="connsiteX206" fmla="*/ 1122322 w 42198532"/>
              <a:gd name="connsiteY206" fmla="*/ 4233439 h 6975464"/>
              <a:gd name="connsiteX207" fmla="*/ 1484336 w 42198532"/>
              <a:gd name="connsiteY207" fmla="*/ 3952712 h 6975464"/>
              <a:gd name="connsiteX208" fmla="*/ 1484336 w 42198532"/>
              <a:gd name="connsiteY208" fmla="*/ 3966117 h 6975464"/>
              <a:gd name="connsiteX209" fmla="*/ 1497744 w 42198532"/>
              <a:gd name="connsiteY209" fmla="*/ 3955866 h 6975464"/>
              <a:gd name="connsiteX210" fmla="*/ 1497744 w 42198532"/>
              <a:gd name="connsiteY210" fmla="*/ 3936152 h 6975464"/>
              <a:gd name="connsiteX211" fmla="*/ 1136519 w 42198532"/>
              <a:gd name="connsiteY211" fmla="*/ 3661732 h 6975464"/>
              <a:gd name="connsiteX212" fmla="*/ 1125477 w 42198532"/>
              <a:gd name="connsiteY212" fmla="*/ 3669618 h 6975464"/>
              <a:gd name="connsiteX213" fmla="*/ 1135730 w 42198532"/>
              <a:gd name="connsiteY213" fmla="*/ 3660943 h 6975464"/>
              <a:gd name="connsiteX214" fmla="*/ 1119956 w 42198532"/>
              <a:gd name="connsiteY214" fmla="*/ 3649115 h 6975464"/>
              <a:gd name="connsiteX215" fmla="*/ 1119956 w 42198532"/>
              <a:gd name="connsiteY215" fmla="*/ 3637286 h 6975464"/>
              <a:gd name="connsiteX216" fmla="*/ 1106548 w 42198532"/>
              <a:gd name="connsiteY216" fmla="*/ 3637286 h 6975464"/>
              <a:gd name="connsiteX217" fmla="*/ 1106548 w 42198532"/>
              <a:gd name="connsiteY217" fmla="*/ 3649903 h 6975464"/>
              <a:gd name="connsiteX218" fmla="*/ 744534 w 42198532"/>
              <a:gd name="connsiteY218" fmla="*/ 3929843 h 6975464"/>
              <a:gd name="connsiteX219" fmla="*/ 744534 w 42198532"/>
              <a:gd name="connsiteY219" fmla="*/ 3612841 h 6975464"/>
              <a:gd name="connsiteX220" fmla="*/ 744534 w 42198532"/>
              <a:gd name="connsiteY220" fmla="*/ 3584453 h 6975464"/>
              <a:gd name="connsiteX221" fmla="*/ 1106548 w 42198532"/>
              <a:gd name="connsiteY221" fmla="*/ 3303725 h 6975464"/>
              <a:gd name="connsiteX222" fmla="*/ 1106548 w 42198532"/>
              <a:gd name="connsiteY222" fmla="*/ 3617573 h 6975464"/>
              <a:gd name="connsiteX223" fmla="*/ 1106548 w 42198532"/>
              <a:gd name="connsiteY223" fmla="*/ 3636498 h 6975464"/>
              <a:gd name="connsiteX224" fmla="*/ 1119956 w 42198532"/>
              <a:gd name="connsiteY224" fmla="*/ 3636498 h 6975464"/>
              <a:gd name="connsiteX225" fmla="*/ 1119956 w 42198532"/>
              <a:gd name="connsiteY225" fmla="*/ 3298205 h 6975464"/>
              <a:gd name="connsiteX226" fmla="*/ 1392847 w 42198532"/>
              <a:gd name="connsiteY226" fmla="*/ 3086870 h 6975464"/>
              <a:gd name="connsiteX227" fmla="*/ 1483547 w 42198532"/>
              <a:gd name="connsiteY227" fmla="*/ 3016688 h 6975464"/>
              <a:gd name="connsiteX228" fmla="*/ 1862913 w 42198532"/>
              <a:gd name="connsiteY228" fmla="*/ 3304513 h 6975464"/>
              <a:gd name="connsiteX229" fmla="*/ 2243855 w 42198532"/>
              <a:gd name="connsiteY229" fmla="*/ 3008803 h 6975464"/>
              <a:gd name="connsiteX230" fmla="*/ 2243855 w 42198532"/>
              <a:gd name="connsiteY230" fmla="*/ 2891307 h 6975464"/>
              <a:gd name="connsiteX231" fmla="*/ 2231236 w 42198532"/>
              <a:gd name="connsiteY231" fmla="*/ 2896827 h 6975464"/>
              <a:gd name="connsiteX232" fmla="*/ 2231236 w 42198532"/>
              <a:gd name="connsiteY232" fmla="*/ 3002494 h 6975464"/>
              <a:gd name="connsiteX233" fmla="*/ 1869222 w 42198532"/>
              <a:gd name="connsiteY233" fmla="*/ 3283222 h 6975464"/>
              <a:gd name="connsiteX234" fmla="*/ 1869222 w 42198532"/>
              <a:gd name="connsiteY234" fmla="*/ 2937043 h 6975464"/>
              <a:gd name="connsiteX235" fmla="*/ 2231236 w 42198532"/>
              <a:gd name="connsiteY235" fmla="*/ 2656315 h 6975464"/>
              <a:gd name="connsiteX236" fmla="*/ 2231236 w 42198532"/>
              <a:gd name="connsiteY236" fmla="*/ 2896038 h 6975464"/>
              <a:gd name="connsiteX237" fmla="*/ 2243855 w 42198532"/>
              <a:gd name="connsiteY237" fmla="*/ 2890518 h 6975464"/>
              <a:gd name="connsiteX238" fmla="*/ 2243855 w 42198532"/>
              <a:gd name="connsiteY238" fmla="*/ 2639755 h 6975464"/>
              <a:gd name="connsiteX239" fmla="*/ 2113720 w 42198532"/>
              <a:gd name="connsiteY239" fmla="*/ 2540397 h 6975464"/>
              <a:gd name="connsiteX240" fmla="*/ 2100312 w 42198532"/>
              <a:gd name="connsiteY240" fmla="*/ 2546705 h 6975464"/>
              <a:gd name="connsiteX241" fmla="*/ 2226503 w 42198532"/>
              <a:gd name="connsiteY241" fmla="*/ 2642910 h 6975464"/>
              <a:gd name="connsiteX242" fmla="*/ 1862124 w 42198532"/>
              <a:gd name="connsiteY242" fmla="*/ 2925215 h 6975464"/>
              <a:gd name="connsiteX243" fmla="*/ 1496955 w 42198532"/>
              <a:gd name="connsiteY243" fmla="*/ 2647641 h 6975464"/>
              <a:gd name="connsiteX244" fmla="*/ 1861335 w 42198532"/>
              <a:gd name="connsiteY244" fmla="*/ 2365336 h 6975464"/>
              <a:gd name="connsiteX245" fmla="*/ 2099523 w 42198532"/>
              <a:gd name="connsiteY245" fmla="*/ 2545916 h 6975464"/>
              <a:gd name="connsiteX246" fmla="*/ 2112931 w 42198532"/>
              <a:gd name="connsiteY246" fmla="*/ 2539608 h 6975464"/>
              <a:gd name="connsiteX247" fmla="*/ 1870800 w 42198532"/>
              <a:gd name="connsiteY247" fmla="*/ 2355873 h 6975464"/>
              <a:gd name="connsiteX248" fmla="*/ 1870800 w 42198532"/>
              <a:gd name="connsiteY248" fmla="*/ 2176869 h 6975464"/>
              <a:gd name="connsiteX249" fmla="*/ 1857392 w 42198532"/>
              <a:gd name="connsiteY249" fmla="*/ 2178447 h 6975464"/>
              <a:gd name="connsiteX250" fmla="*/ 1857392 w 42198532"/>
              <a:gd name="connsiteY250" fmla="*/ 2350353 h 6975464"/>
              <a:gd name="connsiteX251" fmla="*/ 1496167 w 42198532"/>
              <a:gd name="connsiteY251" fmla="*/ 2631081 h 6975464"/>
              <a:gd name="connsiteX252" fmla="*/ 1496167 w 42198532"/>
              <a:gd name="connsiteY252" fmla="*/ 2284114 h 6975464"/>
              <a:gd name="connsiteX253" fmla="*/ 1666526 w 42198532"/>
              <a:gd name="connsiteY253" fmla="*/ 2152424 h 6975464"/>
              <a:gd name="connsiteX254" fmla="*/ 1658639 w 42198532"/>
              <a:gd name="connsiteY254" fmla="*/ 2141384 h 6975464"/>
              <a:gd name="connsiteX255" fmla="*/ 1666526 w 42198532"/>
              <a:gd name="connsiteY255" fmla="*/ 2151636 h 6975464"/>
              <a:gd name="connsiteX256" fmla="*/ 1857392 w 42198532"/>
              <a:gd name="connsiteY256" fmla="*/ 2003386 h 6975464"/>
              <a:gd name="connsiteX257" fmla="*/ 1857392 w 42198532"/>
              <a:gd name="connsiteY257" fmla="*/ 2177658 h 6975464"/>
              <a:gd name="connsiteX258" fmla="*/ 1870800 w 42198532"/>
              <a:gd name="connsiteY258" fmla="*/ 2176081 h 6975464"/>
              <a:gd name="connsiteX259" fmla="*/ 1870800 w 42198532"/>
              <a:gd name="connsiteY259" fmla="*/ 1998654 h 6975464"/>
              <a:gd name="connsiteX260" fmla="*/ 1886574 w 42198532"/>
              <a:gd name="connsiteY260" fmla="*/ 1986037 h 6975464"/>
              <a:gd name="connsiteX261" fmla="*/ 1886574 w 42198532"/>
              <a:gd name="connsiteY261" fmla="*/ 1969478 h 6975464"/>
              <a:gd name="connsiteX262" fmla="*/ 1869222 w 42198532"/>
              <a:gd name="connsiteY262" fmla="*/ 1982883 h 6975464"/>
              <a:gd name="connsiteX263" fmla="*/ 1869222 w 42198532"/>
              <a:gd name="connsiteY263" fmla="*/ 1636704 h 6975464"/>
              <a:gd name="connsiteX264" fmla="*/ 1886574 w 42198532"/>
              <a:gd name="connsiteY264" fmla="*/ 1623299 h 6975464"/>
              <a:gd name="connsiteX265" fmla="*/ 1886574 w 42198532"/>
              <a:gd name="connsiteY265" fmla="*/ 1606739 h 6975464"/>
              <a:gd name="connsiteX266" fmla="*/ 1862124 w 42198532"/>
              <a:gd name="connsiteY266" fmla="*/ 1625665 h 6975464"/>
              <a:gd name="connsiteX267" fmla="*/ 1496955 w 42198532"/>
              <a:gd name="connsiteY267" fmla="*/ 1348091 h 6975464"/>
              <a:gd name="connsiteX268" fmla="*/ 1861335 w 42198532"/>
              <a:gd name="connsiteY268" fmla="*/ 1064997 h 6975464"/>
              <a:gd name="connsiteX269" fmla="*/ 2226503 w 42198532"/>
              <a:gd name="connsiteY269" fmla="*/ 1342571 h 6975464"/>
              <a:gd name="connsiteX270" fmla="*/ 1887362 w 42198532"/>
              <a:gd name="connsiteY270" fmla="*/ 1605951 h 6975464"/>
              <a:gd name="connsiteX271" fmla="*/ 1887362 w 42198532"/>
              <a:gd name="connsiteY271" fmla="*/ 1622510 h 6975464"/>
              <a:gd name="connsiteX272" fmla="*/ 2231236 w 42198532"/>
              <a:gd name="connsiteY272" fmla="*/ 1355976 h 6975464"/>
              <a:gd name="connsiteX273" fmla="*/ 2231236 w 42198532"/>
              <a:gd name="connsiteY273" fmla="*/ 1702944 h 6975464"/>
              <a:gd name="connsiteX274" fmla="*/ 1887362 w 42198532"/>
              <a:gd name="connsiteY274" fmla="*/ 1968689 h 6975464"/>
              <a:gd name="connsiteX275" fmla="*/ 1887362 w 42198532"/>
              <a:gd name="connsiteY275" fmla="*/ 1985249 h 6975464"/>
              <a:gd name="connsiteX276" fmla="*/ 2243855 w 42198532"/>
              <a:gd name="connsiteY276" fmla="*/ 1709252 h 6975464"/>
              <a:gd name="connsiteX277" fmla="*/ 2243855 w 42198532"/>
              <a:gd name="connsiteY277" fmla="*/ 1339416 h 6975464"/>
              <a:gd name="connsiteX278" fmla="*/ 1870800 w 42198532"/>
              <a:gd name="connsiteY278" fmla="*/ 1056323 h 6975464"/>
              <a:gd name="connsiteX279" fmla="*/ 1870800 w 42198532"/>
              <a:gd name="connsiteY279" fmla="*/ 707778 h 6975464"/>
              <a:gd name="connsiteX280" fmla="*/ 1857392 w 42198532"/>
              <a:gd name="connsiteY280" fmla="*/ 718030 h 6975464"/>
              <a:gd name="connsiteX281" fmla="*/ 1857392 w 42198532"/>
              <a:gd name="connsiteY281" fmla="*/ 1050803 h 6975464"/>
              <a:gd name="connsiteX282" fmla="*/ 1496167 w 42198532"/>
              <a:gd name="connsiteY282" fmla="*/ 1331531 h 6975464"/>
              <a:gd name="connsiteX283" fmla="*/ 1496167 w 42198532"/>
              <a:gd name="connsiteY283" fmla="*/ 985352 h 6975464"/>
              <a:gd name="connsiteX284" fmla="*/ 1857392 w 42198532"/>
              <a:gd name="connsiteY284" fmla="*/ 704624 h 6975464"/>
              <a:gd name="connsiteX285" fmla="*/ 1857392 w 42198532"/>
              <a:gd name="connsiteY285" fmla="*/ 717241 h 6975464"/>
              <a:gd name="connsiteX286" fmla="*/ 1870800 w 42198532"/>
              <a:gd name="connsiteY286" fmla="*/ 706990 h 6975464"/>
              <a:gd name="connsiteX287" fmla="*/ 1870800 w 42198532"/>
              <a:gd name="connsiteY287" fmla="*/ 688064 h 6975464"/>
              <a:gd name="connsiteX288" fmla="*/ 1509574 w 42198532"/>
              <a:gd name="connsiteY288" fmla="*/ 412856 h 6975464"/>
              <a:gd name="connsiteX289" fmla="*/ 1498533 w 42198532"/>
              <a:gd name="connsiteY289" fmla="*/ 421530 h 6975464"/>
              <a:gd name="connsiteX290" fmla="*/ 1508786 w 42198532"/>
              <a:gd name="connsiteY290" fmla="*/ 412856 h 6975464"/>
              <a:gd name="connsiteX291" fmla="*/ 1493012 w 42198532"/>
              <a:gd name="connsiteY291" fmla="*/ 401028 h 6975464"/>
              <a:gd name="connsiteX292" fmla="*/ 1493012 w 42198532"/>
              <a:gd name="connsiteY292" fmla="*/ 119417 h 6975464"/>
              <a:gd name="connsiteX293" fmla="*/ 1493012 w 42198532"/>
              <a:gd name="connsiteY293" fmla="*/ 117464 h 6975464"/>
              <a:gd name="connsiteX294" fmla="*/ 1398859 w 42198532"/>
              <a:gd name="connsiteY294" fmla="*/ 117464 h 6975464"/>
              <a:gd name="connsiteX295" fmla="*/ 1480393 w 42198532"/>
              <a:gd name="connsiteY295" fmla="*/ 117464 h 6975464"/>
              <a:gd name="connsiteX296" fmla="*/ 1480393 w 42198532"/>
              <a:gd name="connsiteY296" fmla="*/ 201868 h 6975464"/>
              <a:gd name="connsiteX297" fmla="*/ 1480393 w 42198532"/>
              <a:gd name="connsiteY297" fmla="*/ 401028 h 6975464"/>
              <a:gd name="connsiteX298" fmla="*/ 1118379 w 42198532"/>
              <a:gd name="connsiteY298" fmla="*/ 681756 h 6975464"/>
              <a:gd name="connsiteX299" fmla="*/ 1118379 w 42198532"/>
              <a:gd name="connsiteY299" fmla="*/ 335577 h 6975464"/>
              <a:gd name="connsiteX300" fmla="*/ 1379242 w 42198532"/>
              <a:gd name="connsiteY300" fmla="*/ 132719 h 6975464"/>
              <a:gd name="connsiteX301" fmla="*/ 1398859 w 42198532"/>
              <a:gd name="connsiteY301" fmla="*/ 117464 h 6975464"/>
              <a:gd name="connsiteX302" fmla="*/ 840168 w 42198532"/>
              <a:gd name="connsiteY302" fmla="*/ 117464 h 6975464"/>
              <a:gd name="connsiteX303" fmla="*/ 1377550 w 42198532"/>
              <a:gd name="connsiteY303" fmla="*/ 117464 h 6975464"/>
              <a:gd name="connsiteX304" fmla="*/ 1301753 w 42198532"/>
              <a:gd name="connsiteY304" fmla="*/ 176360 h 6975464"/>
              <a:gd name="connsiteX305" fmla="*/ 1112069 w 42198532"/>
              <a:gd name="connsiteY305" fmla="*/ 323748 h 6975464"/>
              <a:gd name="connsiteX306" fmla="*/ 857417 w 42198532"/>
              <a:gd name="connsiteY306" fmla="*/ 130551 h 6975464"/>
              <a:gd name="connsiteX307" fmla="*/ 840168 w 42198532"/>
              <a:gd name="connsiteY307" fmla="*/ 117464 h 6975464"/>
              <a:gd name="connsiteX0" fmla="*/ 738225 w 42198532"/>
              <a:gd name="connsiteY0" fmla="*/ 6911396 h 7004830"/>
              <a:gd name="connsiteX1" fmla="*/ 814828 w 42198532"/>
              <a:gd name="connsiteY1" fmla="*/ 6969750 h 7004830"/>
              <a:gd name="connsiteX2" fmla="*/ 822329 w 42198532"/>
              <a:gd name="connsiteY2" fmla="*/ 6975464 h 7004830"/>
              <a:gd name="connsiteX3" fmla="*/ 655724 w 42198532"/>
              <a:gd name="connsiteY3" fmla="*/ 6975464 h 7004830"/>
              <a:gd name="connsiteX4" fmla="*/ 656989 w 42198532"/>
              <a:gd name="connsiteY4" fmla="*/ 6974481 h 7004830"/>
              <a:gd name="connsiteX5" fmla="*/ 738225 w 42198532"/>
              <a:gd name="connsiteY5" fmla="*/ 6911396 h 7004830"/>
              <a:gd name="connsiteX6" fmla="*/ 733493 w 42198532"/>
              <a:gd name="connsiteY6" fmla="*/ 6551812 h 7004830"/>
              <a:gd name="connsiteX7" fmla="*/ 733493 w 42198532"/>
              <a:gd name="connsiteY7" fmla="*/ 6897991 h 7004830"/>
              <a:gd name="connsiteX8" fmla="*/ 639637 w 42198532"/>
              <a:gd name="connsiteY8" fmla="*/ 6970539 h 7004830"/>
              <a:gd name="connsiteX9" fmla="*/ 656989 w 42198532"/>
              <a:gd name="connsiteY9" fmla="*/ 6974481 h 7004830"/>
              <a:gd name="connsiteX10" fmla="*/ 638848 w 42198532"/>
              <a:gd name="connsiteY10" fmla="*/ 6971327 h 7004830"/>
              <a:gd name="connsiteX11" fmla="*/ 633515 w 42198532"/>
              <a:gd name="connsiteY11" fmla="*/ 6975464 h 7004830"/>
              <a:gd name="connsiteX12" fmla="*/ 371479 w 42198532"/>
              <a:gd name="connsiteY12" fmla="*/ 6975464 h 7004830"/>
              <a:gd name="connsiteX13" fmla="*/ 371479 w 42198532"/>
              <a:gd name="connsiteY13" fmla="*/ 6917056 h 7004830"/>
              <a:gd name="connsiteX14" fmla="*/ 371479 w 42198532"/>
              <a:gd name="connsiteY14" fmla="*/ 6832540 h 7004830"/>
              <a:gd name="connsiteX15" fmla="*/ 733493 w 42198532"/>
              <a:gd name="connsiteY15" fmla="*/ 6551812 h 7004830"/>
              <a:gd name="connsiteX16" fmla="*/ 1106548 w 42198532"/>
              <a:gd name="connsiteY16" fmla="*/ 5904403 h 7004830"/>
              <a:gd name="connsiteX17" fmla="*/ 1106548 w 42198532"/>
              <a:gd name="connsiteY17" fmla="*/ 6251370 h 7004830"/>
              <a:gd name="connsiteX18" fmla="*/ 1012693 w 42198532"/>
              <a:gd name="connsiteY18" fmla="*/ 6323918 h 7004830"/>
              <a:gd name="connsiteX19" fmla="*/ 744534 w 42198532"/>
              <a:gd name="connsiteY19" fmla="*/ 6531309 h 7004830"/>
              <a:gd name="connsiteX20" fmla="*/ 744534 w 42198532"/>
              <a:gd name="connsiteY20" fmla="*/ 6185131 h 7004830"/>
              <a:gd name="connsiteX21" fmla="*/ 873093 w 42198532"/>
              <a:gd name="connsiteY21" fmla="*/ 6085772 h 7004830"/>
              <a:gd name="connsiteX22" fmla="*/ 1106548 w 42198532"/>
              <a:gd name="connsiteY22" fmla="*/ 5904403 h 7004830"/>
              <a:gd name="connsiteX23" fmla="*/ 1739875 w 42198532"/>
              <a:gd name="connsiteY23" fmla="*/ 5788484 h 7004830"/>
              <a:gd name="connsiteX24" fmla="*/ 1726467 w 42198532"/>
              <a:gd name="connsiteY24" fmla="*/ 5794792 h 7004830"/>
              <a:gd name="connsiteX25" fmla="*/ 1739875 w 42198532"/>
              <a:gd name="connsiteY25" fmla="*/ 5788484 h 7004830"/>
              <a:gd name="connsiteX26" fmla="*/ 1488280 w 42198532"/>
              <a:gd name="connsiteY26" fmla="*/ 5613423 h 7004830"/>
              <a:gd name="connsiteX27" fmla="*/ 1726467 w 42198532"/>
              <a:gd name="connsiteY27" fmla="*/ 5794792 h 7004830"/>
              <a:gd name="connsiteX28" fmla="*/ 1853448 w 42198532"/>
              <a:gd name="connsiteY28" fmla="*/ 5890997 h 7004830"/>
              <a:gd name="connsiteX29" fmla="*/ 1489068 w 42198532"/>
              <a:gd name="connsiteY29" fmla="*/ 6174091 h 7004830"/>
              <a:gd name="connsiteX30" fmla="*/ 1123900 w 42198532"/>
              <a:gd name="connsiteY30" fmla="*/ 5896517 h 7004830"/>
              <a:gd name="connsiteX31" fmla="*/ 1488280 w 42198532"/>
              <a:gd name="connsiteY31" fmla="*/ 5613423 h 7004830"/>
              <a:gd name="connsiteX32" fmla="*/ 359648 w 42198532"/>
              <a:gd name="connsiteY32" fmla="*/ 4965225 h 7004830"/>
              <a:gd name="connsiteX33" fmla="*/ 724817 w 42198532"/>
              <a:gd name="connsiteY33" fmla="*/ 5242799 h 7004830"/>
              <a:gd name="connsiteX34" fmla="*/ 487418 w 42198532"/>
              <a:gd name="connsiteY34" fmla="*/ 5426534 h 7004830"/>
              <a:gd name="connsiteX35" fmla="*/ 493727 w 42198532"/>
              <a:gd name="connsiteY35" fmla="*/ 5437574 h 7004830"/>
              <a:gd name="connsiteX36" fmla="*/ 733493 w 42198532"/>
              <a:gd name="connsiteY36" fmla="*/ 5252262 h 7004830"/>
              <a:gd name="connsiteX37" fmla="*/ 733493 w 42198532"/>
              <a:gd name="connsiteY37" fmla="*/ 5598440 h 7004830"/>
              <a:gd name="connsiteX38" fmla="*/ 633328 w 42198532"/>
              <a:gd name="connsiteY38" fmla="*/ 5675720 h 7004830"/>
              <a:gd name="connsiteX39" fmla="*/ 641215 w 42198532"/>
              <a:gd name="connsiteY39" fmla="*/ 5688337 h 7004830"/>
              <a:gd name="connsiteX40" fmla="*/ 737436 w 42198532"/>
              <a:gd name="connsiteY40" fmla="*/ 5613423 h 7004830"/>
              <a:gd name="connsiteX41" fmla="*/ 1102605 w 42198532"/>
              <a:gd name="connsiteY41" fmla="*/ 5890997 h 7004830"/>
              <a:gd name="connsiteX42" fmla="*/ 866783 w 42198532"/>
              <a:gd name="connsiteY42" fmla="*/ 6073943 h 7004830"/>
              <a:gd name="connsiteX43" fmla="*/ 873093 w 42198532"/>
              <a:gd name="connsiteY43" fmla="*/ 6085772 h 7004830"/>
              <a:gd name="connsiteX44" fmla="*/ 865994 w 42198532"/>
              <a:gd name="connsiteY44" fmla="*/ 6074732 h 7004830"/>
              <a:gd name="connsiteX45" fmla="*/ 738225 w 42198532"/>
              <a:gd name="connsiteY45" fmla="*/ 6174091 h 7004830"/>
              <a:gd name="connsiteX46" fmla="*/ 373056 w 42198532"/>
              <a:gd name="connsiteY46" fmla="*/ 5896517 h 7004830"/>
              <a:gd name="connsiteX47" fmla="*/ 640426 w 42198532"/>
              <a:gd name="connsiteY47" fmla="*/ 5689125 h 7004830"/>
              <a:gd name="connsiteX48" fmla="*/ 633328 w 42198532"/>
              <a:gd name="connsiteY48" fmla="*/ 5676508 h 7004830"/>
              <a:gd name="connsiteX49" fmla="*/ 371479 w 42198532"/>
              <a:gd name="connsiteY49" fmla="*/ 5879169 h 7004830"/>
              <a:gd name="connsiteX50" fmla="*/ 371479 w 42198532"/>
              <a:gd name="connsiteY50" fmla="*/ 5532990 h 7004830"/>
              <a:gd name="connsiteX51" fmla="*/ 493727 w 42198532"/>
              <a:gd name="connsiteY51" fmla="*/ 5438362 h 7004830"/>
              <a:gd name="connsiteX52" fmla="*/ 486629 w 42198532"/>
              <a:gd name="connsiteY52" fmla="*/ 5426534 h 7004830"/>
              <a:gd name="connsiteX53" fmla="*/ 365169 w 42198532"/>
              <a:gd name="connsiteY53" fmla="*/ 5521161 h 7004830"/>
              <a:gd name="connsiteX54" fmla="*/ 0 w 42198532"/>
              <a:gd name="connsiteY54" fmla="*/ 5243588 h 7004830"/>
              <a:gd name="connsiteX55" fmla="*/ 359648 w 42198532"/>
              <a:gd name="connsiteY55" fmla="*/ 4965225 h 7004830"/>
              <a:gd name="connsiteX56" fmla="*/ 1106548 w 42198532"/>
              <a:gd name="connsiteY56" fmla="*/ 4604852 h 7004830"/>
              <a:gd name="connsiteX57" fmla="*/ 1106548 w 42198532"/>
              <a:gd name="connsiteY57" fmla="*/ 4951031 h 7004830"/>
              <a:gd name="connsiteX58" fmla="*/ 1018214 w 42198532"/>
              <a:gd name="connsiteY58" fmla="*/ 5019636 h 7004830"/>
              <a:gd name="connsiteX59" fmla="*/ 1025312 w 42198532"/>
              <a:gd name="connsiteY59" fmla="*/ 5030676 h 7004830"/>
              <a:gd name="connsiteX60" fmla="*/ 1017425 w 42198532"/>
              <a:gd name="connsiteY60" fmla="*/ 5020424 h 7004830"/>
              <a:gd name="connsiteX61" fmla="*/ 744534 w 42198532"/>
              <a:gd name="connsiteY61" fmla="*/ 5231759 h 7004830"/>
              <a:gd name="connsiteX62" fmla="*/ 744534 w 42198532"/>
              <a:gd name="connsiteY62" fmla="*/ 4885580 h 7004830"/>
              <a:gd name="connsiteX63" fmla="*/ 856530 w 42198532"/>
              <a:gd name="connsiteY63" fmla="*/ 4798050 h 7004830"/>
              <a:gd name="connsiteX64" fmla="*/ 849432 w 42198532"/>
              <a:gd name="connsiteY64" fmla="*/ 4787799 h 7004830"/>
              <a:gd name="connsiteX65" fmla="*/ 857319 w 42198532"/>
              <a:gd name="connsiteY65" fmla="*/ 4798050 h 7004830"/>
              <a:gd name="connsiteX66" fmla="*/ 1106548 w 42198532"/>
              <a:gd name="connsiteY66" fmla="*/ 4604852 h 7004830"/>
              <a:gd name="connsiteX67" fmla="*/ 737436 w 42198532"/>
              <a:gd name="connsiteY67" fmla="*/ 4313873 h 7004830"/>
              <a:gd name="connsiteX68" fmla="*/ 1102605 w 42198532"/>
              <a:gd name="connsiteY68" fmla="*/ 4591447 h 7004830"/>
              <a:gd name="connsiteX69" fmla="*/ 849432 w 42198532"/>
              <a:gd name="connsiteY69" fmla="*/ 4787799 h 7004830"/>
              <a:gd name="connsiteX70" fmla="*/ 738225 w 42198532"/>
              <a:gd name="connsiteY70" fmla="*/ 4873752 h 7004830"/>
              <a:gd name="connsiteX71" fmla="*/ 373056 w 42198532"/>
              <a:gd name="connsiteY71" fmla="*/ 4596178 h 7004830"/>
              <a:gd name="connsiteX72" fmla="*/ 737436 w 42198532"/>
              <a:gd name="connsiteY72" fmla="*/ 4313873 h 7004830"/>
              <a:gd name="connsiteX73" fmla="*/ 1115224 w 42198532"/>
              <a:gd name="connsiteY73" fmla="*/ 3661732 h 7004830"/>
              <a:gd name="connsiteX74" fmla="*/ 1125477 w 42198532"/>
              <a:gd name="connsiteY74" fmla="*/ 3669618 h 7004830"/>
              <a:gd name="connsiteX75" fmla="*/ 1480393 w 42198532"/>
              <a:gd name="connsiteY75" fmla="*/ 3939306 h 7004830"/>
              <a:gd name="connsiteX76" fmla="*/ 1116013 w 42198532"/>
              <a:gd name="connsiteY76" fmla="*/ 4222399 h 7004830"/>
              <a:gd name="connsiteX77" fmla="*/ 750844 w 42198532"/>
              <a:gd name="connsiteY77" fmla="*/ 3944037 h 7004830"/>
              <a:gd name="connsiteX78" fmla="*/ 1115224 w 42198532"/>
              <a:gd name="connsiteY78" fmla="*/ 3661732 h 7004830"/>
              <a:gd name="connsiteX79" fmla="*/ 1480393 w 42198532"/>
              <a:gd name="connsiteY79" fmla="*/ 2656315 h 7004830"/>
              <a:gd name="connsiteX80" fmla="*/ 1480393 w 42198532"/>
              <a:gd name="connsiteY80" fmla="*/ 3002494 h 7004830"/>
              <a:gd name="connsiteX81" fmla="*/ 1386537 w 42198532"/>
              <a:gd name="connsiteY81" fmla="*/ 3075042 h 7004830"/>
              <a:gd name="connsiteX82" fmla="*/ 1392847 w 42198532"/>
              <a:gd name="connsiteY82" fmla="*/ 3086870 h 7004830"/>
              <a:gd name="connsiteX83" fmla="*/ 1385748 w 42198532"/>
              <a:gd name="connsiteY83" fmla="*/ 3075830 h 7004830"/>
              <a:gd name="connsiteX84" fmla="*/ 1118379 w 42198532"/>
              <a:gd name="connsiteY84" fmla="*/ 3283222 h 7004830"/>
              <a:gd name="connsiteX85" fmla="*/ 1118379 w 42198532"/>
              <a:gd name="connsiteY85" fmla="*/ 2937043 h 7004830"/>
              <a:gd name="connsiteX86" fmla="*/ 1246148 w 42198532"/>
              <a:gd name="connsiteY86" fmla="*/ 2837685 h 7004830"/>
              <a:gd name="connsiteX87" fmla="*/ 1239839 w 42198532"/>
              <a:gd name="connsiteY87" fmla="*/ 2825856 h 7004830"/>
              <a:gd name="connsiteX88" fmla="*/ 1246937 w 42198532"/>
              <a:gd name="connsiteY88" fmla="*/ 2836896 h 7004830"/>
              <a:gd name="connsiteX89" fmla="*/ 1480393 w 42198532"/>
              <a:gd name="connsiteY89" fmla="*/ 2656315 h 7004830"/>
              <a:gd name="connsiteX90" fmla="*/ 732704 w 42198532"/>
              <a:gd name="connsiteY90" fmla="*/ 1716349 h 7004830"/>
              <a:gd name="connsiteX91" fmla="*/ 1097873 w 42198532"/>
              <a:gd name="connsiteY91" fmla="*/ 1993923 h 7004830"/>
              <a:gd name="connsiteX92" fmla="*/ 860473 w 42198532"/>
              <a:gd name="connsiteY92" fmla="*/ 2177658 h 7004830"/>
              <a:gd name="connsiteX93" fmla="*/ 867572 w 42198532"/>
              <a:gd name="connsiteY93" fmla="*/ 2189486 h 7004830"/>
              <a:gd name="connsiteX94" fmla="*/ 1106548 w 42198532"/>
              <a:gd name="connsiteY94" fmla="*/ 2003386 h 7004830"/>
              <a:gd name="connsiteX95" fmla="*/ 1106548 w 42198532"/>
              <a:gd name="connsiteY95" fmla="*/ 2350353 h 7004830"/>
              <a:gd name="connsiteX96" fmla="*/ 1007172 w 42198532"/>
              <a:gd name="connsiteY96" fmla="*/ 2427632 h 7004830"/>
              <a:gd name="connsiteX97" fmla="*/ 1014270 w 42198532"/>
              <a:gd name="connsiteY97" fmla="*/ 2440249 h 7004830"/>
              <a:gd name="connsiteX98" fmla="*/ 1110492 w 42198532"/>
              <a:gd name="connsiteY98" fmla="*/ 2365336 h 7004830"/>
              <a:gd name="connsiteX99" fmla="*/ 1475660 w 42198532"/>
              <a:gd name="connsiteY99" fmla="*/ 2642910 h 7004830"/>
              <a:gd name="connsiteX100" fmla="*/ 1239839 w 42198532"/>
              <a:gd name="connsiteY100" fmla="*/ 2825856 h 7004830"/>
              <a:gd name="connsiteX101" fmla="*/ 1112069 w 42198532"/>
              <a:gd name="connsiteY101" fmla="*/ 2925215 h 7004830"/>
              <a:gd name="connsiteX102" fmla="*/ 746900 w 42198532"/>
              <a:gd name="connsiteY102" fmla="*/ 2647641 h 7004830"/>
              <a:gd name="connsiteX103" fmla="*/ 1013481 w 42198532"/>
              <a:gd name="connsiteY103" fmla="*/ 2440249 h 7004830"/>
              <a:gd name="connsiteX104" fmla="*/ 1006383 w 42198532"/>
              <a:gd name="connsiteY104" fmla="*/ 2427632 h 7004830"/>
              <a:gd name="connsiteX105" fmla="*/ 744534 w 42198532"/>
              <a:gd name="connsiteY105" fmla="*/ 2631081 h 7004830"/>
              <a:gd name="connsiteX106" fmla="*/ 744534 w 42198532"/>
              <a:gd name="connsiteY106" fmla="*/ 2284114 h 7004830"/>
              <a:gd name="connsiteX107" fmla="*/ 866783 w 42198532"/>
              <a:gd name="connsiteY107" fmla="*/ 2189486 h 7004830"/>
              <a:gd name="connsiteX108" fmla="*/ 860473 w 42198532"/>
              <a:gd name="connsiteY108" fmla="*/ 2178447 h 7004830"/>
              <a:gd name="connsiteX109" fmla="*/ 738225 w 42198532"/>
              <a:gd name="connsiteY109" fmla="*/ 2273074 h 7004830"/>
              <a:gd name="connsiteX110" fmla="*/ 373056 w 42198532"/>
              <a:gd name="connsiteY110" fmla="*/ 1995500 h 7004830"/>
              <a:gd name="connsiteX111" fmla="*/ 732704 w 42198532"/>
              <a:gd name="connsiteY111" fmla="*/ 1716349 h 7004830"/>
              <a:gd name="connsiteX112" fmla="*/ 1480393 w 42198532"/>
              <a:gd name="connsiteY112" fmla="*/ 1355976 h 7004830"/>
              <a:gd name="connsiteX113" fmla="*/ 1480393 w 42198532"/>
              <a:gd name="connsiteY113" fmla="*/ 1702944 h 7004830"/>
              <a:gd name="connsiteX114" fmla="*/ 1391269 w 42198532"/>
              <a:gd name="connsiteY114" fmla="*/ 1771549 h 7004830"/>
              <a:gd name="connsiteX115" fmla="*/ 1399156 w 42198532"/>
              <a:gd name="connsiteY115" fmla="*/ 1781800 h 7004830"/>
              <a:gd name="connsiteX116" fmla="*/ 1483547 w 42198532"/>
              <a:gd name="connsiteY116" fmla="*/ 1716349 h 7004830"/>
              <a:gd name="connsiteX117" fmla="*/ 1848716 w 42198532"/>
              <a:gd name="connsiteY117" fmla="*/ 1993923 h 7004830"/>
              <a:gd name="connsiteX118" fmla="*/ 1658639 w 42198532"/>
              <a:gd name="connsiteY118" fmla="*/ 2141384 h 7004830"/>
              <a:gd name="connsiteX119" fmla="*/ 1489068 w 42198532"/>
              <a:gd name="connsiteY119" fmla="*/ 2273074 h 7004830"/>
              <a:gd name="connsiteX120" fmla="*/ 1123900 w 42198532"/>
              <a:gd name="connsiteY120" fmla="*/ 1995500 h 7004830"/>
              <a:gd name="connsiteX121" fmla="*/ 1398368 w 42198532"/>
              <a:gd name="connsiteY121" fmla="*/ 1782588 h 7004830"/>
              <a:gd name="connsiteX122" fmla="*/ 1390481 w 42198532"/>
              <a:gd name="connsiteY122" fmla="*/ 1771549 h 7004830"/>
              <a:gd name="connsiteX123" fmla="*/ 1118379 w 42198532"/>
              <a:gd name="connsiteY123" fmla="*/ 1982883 h 7004830"/>
              <a:gd name="connsiteX124" fmla="*/ 1118379 w 42198532"/>
              <a:gd name="connsiteY124" fmla="*/ 1636704 h 7004830"/>
              <a:gd name="connsiteX125" fmla="*/ 1230374 w 42198532"/>
              <a:gd name="connsiteY125" fmla="*/ 1549963 h 7004830"/>
              <a:gd name="connsiteX126" fmla="*/ 1480393 w 42198532"/>
              <a:gd name="connsiteY126" fmla="*/ 1355976 h 7004830"/>
              <a:gd name="connsiteX127" fmla="*/ 1110492 w 42198532"/>
              <a:gd name="connsiteY127" fmla="*/ 1064997 h 7004830"/>
              <a:gd name="connsiteX128" fmla="*/ 1475660 w 42198532"/>
              <a:gd name="connsiteY128" fmla="*/ 1342571 h 7004830"/>
              <a:gd name="connsiteX129" fmla="*/ 1223276 w 42198532"/>
              <a:gd name="connsiteY129" fmla="*/ 1538923 h 7004830"/>
              <a:gd name="connsiteX130" fmla="*/ 1230374 w 42198532"/>
              <a:gd name="connsiteY130" fmla="*/ 1549963 h 7004830"/>
              <a:gd name="connsiteX131" fmla="*/ 1222487 w 42198532"/>
              <a:gd name="connsiteY131" fmla="*/ 1539711 h 7004830"/>
              <a:gd name="connsiteX132" fmla="*/ 1112069 w 42198532"/>
              <a:gd name="connsiteY132" fmla="*/ 1625665 h 7004830"/>
              <a:gd name="connsiteX133" fmla="*/ 746900 w 42198532"/>
              <a:gd name="connsiteY133" fmla="*/ 1348091 h 7004830"/>
              <a:gd name="connsiteX134" fmla="*/ 1110492 w 42198532"/>
              <a:gd name="connsiteY134" fmla="*/ 1064997 h 7004830"/>
              <a:gd name="connsiteX135" fmla="*/ 1488280 w 42198532"/>
              <a:gd name="connsiteY135" fmla="*/ 413645 h 7004830"/>
              <a:gd name="connsiteX136" fmla="*/ 1498533 w 42198532"/>
              <a:gd name="connsiteY136" fmla="*/ 421530 h 7004830"/>
              <a:gd name="connsiteX137" fmla="*/ 1853448 w 42198532"/>
              <a:gd name="connsiteY137" fmla="*/ 691218 h 7004830"/>
              <a:gd name="connsiteX138" fmla="*/ 1489068 w 42198532"/>
              <a:gd name="connsiteY138" fmla="*/ 973524 h 7004830"/>
              <a:gd name="connsiteX139" fmla="*/ 1123900 w 42198532"/>
              <a:gd name="connsiteY139" fmla="*/ 695950 h 7004830"/>
              <a:gd name="connsiteX140" fmla="*/ 1488280 w 42198532"/>
              <a:gd name="connsiteY140" fmla="*/ 413645 h 7004830"/>
              <a:gd name="connsiteX141" fmla="*/ 1493012 w 42198532"/>
              <a:gd name="connsiteY141" fmla="*/ 117464 h 7004830"/>
              <a:gd name="connsiteX142" fmla="*/ 42118086 w 42198532"/>
              <a:gd name="connsiteY142" fmla="*/ 0 h 7004830"/>
              <a:gd name="connsiteX143" fmla="*/ 42198532 w 42198532"/>
              <a:gd name="connsiteY143" fmla="*/ 7004830 h 7004830"/>
              <a:gd name="connsiteX144" fmla="*/ 843615 w 42198532"/>
              <a:gd name="connsiteY144" fmla="*/ 6975464 h 7004830"/>
              <a:gd name="connsiteX145" fmla="*/ 810785 w 42198532"/>
              <a:gd name="connsiteY145" fmla="*/ 6950504 h 7004830"/>
              <a:gd name="connsiteX146" fmla="*/ 746900 w 42198532"/>
              <a:gd name="connsiteY146" fmla="*/ 6901934 h 7004830"/>
              <a:gd name="connsiteX147" fmla="*/ 746900 w 42198532"/>
              <a:gd name="connsiteY147" fmla="*/ 6547081 h 7004830"/>
              <a:gd name="connsiteX148" fmla="*/ 1019002 w 42198532"/>
              <a:gd name="connsiteY148" fmla="*/ 6335746 h 7004830"/>
              <a:gd name="connsiteX149" fmla="*/ 1012693 w 42198532"/>
              <a:gd name="connsiteY149" fmla="*/ 6323918 h 7004830"/>
              <a:gd name="connsiteX150" fmla="*/ 1019791 w 42198532"/>
              <a:gd name="connsiteY150" fmla="*/ 6334957 h 7004830"/>
              <a:gd name="connsiteX151" fmla="*/ 1110492 w 42198532"/>
              <a:gd name="connsiteY151" fmla="*/ 6264775 h 7004830"/>
              <a:gd name="connsiteX152" fmla="*/ 1489068 w 42198532"/>
              <a:gd name="connsiteY152" fmla="*/ 6553389 h 7004830"/>
              <a:gd name="connsiteX153" fmla="*/ 1870800 w 42198532"/>
              <a:gd name="connsiteY153" fmla="*/ 6257678 h 7004830"/>
              <a:gd name="connsiteX154" fmla="*/ 1870800 w 42198532"/>
              <a:gd name="connsiteY154" fmla="*/ 6139394 h 7004830"/>
              <a:gd name="connsiteX155" fmla="*/ 1857392 w 42198532"/>
              <a:gd name="connsiteY155" fmla="*/ 6144914 h 7004830"/>
              <a:gd name="connsiteX156" fmla="*/ 1857392 w 42198532"/>
              <a:gd name="connsiteY156" fmla="*/ 6251370 h 7004830"/>
              <a:gd name="connsiteX157" fmla="*/ 1495378 w 42198532"/>
              <a:gd name="connsiteY157" fmla="*/ 6531309 h 7004830"/>
              <a:gd name="connsiteX158" fmla="*/ 1495378 w 42198532"/>
              <a:gd name="connsiteY158" fmla="*/ 6185131 h 7004830"/>
              <a:gd name="connsiteX159" fmla="*/ 1857392 w 42198532"/>
              <a:gd name="connsiteY159" fmla="*/ 5904403 h 7004830"/>
              <a:gd name="connsiteX160" fmla="*/ 1857392 w 42198532"/>
              <a:gd name="connsiteY160" fmla="*/ 6144125 h 7004830"/>
              <a:gd name="connsiteX161" fmla="*/ 1870800 w 42198532"/>
              <a:gd name="connsiteY161" fmla="*/ 6138605 h 7004830"/>
              <a:gd name="connsiteX162" fmla="*/ 1870800 w 42198532"/>
              <a:gd name="connsiteY162" fmla="*/ 5887843 h 7004830"/>
              <a:gd name="connsiteX163" fmla="*/ 1739875 w 42198532"/>
              <a:gd name="connsiteY163" fmla="*/ 5788484 h 7004830"/>
              <a:gd name="connsiteX164" fmla="*/ 1497744 w 42198532"/>
              <a:gd name="connsiteY164" fmla="*/ 5604749 h 7004830"/>
              <a:gd name="connsiteX165" fmla="*/ 1497744 w 42198532"/>
              <a:gd name="connsiteY165" fmla="*/ 5424957 h 7004830"/>
              <a:gd name="connsiteX166" fmla="*/ 1484336 w 42198532"/>
              <a:gd name="connsiteY166" fmla="*/ 5427322 h 7004830"/>
              <a:gd name="connsiteX167" fmla="*/ 1484336 w 42198532"/>
              <a:gd name="connsiteY167" fmla="*/ 5598440 h 7004830"/>
              <a:gd name="connsiteX168" fmla="*/ 1122322 w 42198532"/>
              <a:gd name="connsiteY168" fmla="*/ 5879169 h 7004830"/>
              <a:gd name="connsiteX169" fmla="*/ 1122322 w 42198532"/>
              <a:gd name="connsiteY169" fmla="*/ 5532990 h 7004830"/>
              <a:gd name="connsiteX170" fmla="*/ 1292682 w 42198532"/>
              <a:gd name="connsiteY170" fmla="*/ 5400511 h 7004830"/>
              <a:gd name="connsiteX171" fmla="*/ 1285583 w 42198532"/>
              <a:gd name="connsiteY171" fmla="*/ 5390260 h 7004830"/>
              <a:gd name="connsiteX172" fmla="*/ 1116013 w 42198532"/>
              <a:gd name="connsiteY172" fmla="*/ 5521161 h 7004830"/>
              <a:gd name="connsiteX173" fmla="*/ 750844 w 42198532"/>
              <a:gd name="connsiteY173" fmla="*/ 5243588 h 7004830"/>
              <a:gd name="connsiteX174" fmla="*/ 1025312 w 42198532"/>
              <a:gd name="connsiteY174" fmla="*/ 5030676 h 7004830"/>
              <a:gd name="connsiteX175" fmla="*/ 1110492 w 42198532"/>
              <a:gd name="connsiteY175" fmla="*/ 4965225 h 7004830"/>
              <a:gd name="connsiteX176" fmla="*/ 1475660 w 42198532"/>
              <a:gd name="connsiteY176" fmla="*/ 5242799 h 7004830"/>
              <a:gd name="connsiteX177" fmla="*/ 1285583 w 42198532"/>
              <a:gd name="connsiteY177" fmla="*/ 5389472 h 7004830"/>
              <a:gd name="connsiteX178" fmla="*/ 1293470 w 42198532"/>
              <a:gd name="connsiteY178" fmla="*/ 5400511 h 7004830"/>
              <a:gd name="connsiteX179" fmla="*/ 1484336 w 42198532"/>
              <a:gd name="connsiteY179" fmla="*/ 5252262 h 7004830"/>
              <a:gd name="connsiteX180" fmla="*/ 1484336 w 42198532"/>
              <a:gd name="connsiteY180" fmla="*/ 5426534 h 7004830"/>
              <a:gd name="connsiteX181" fmla="*/ 1497744 w 42198532"/>
              <a:gd name="connsiteY181" fmla="*/ 5424168 h 7004830"/>
              <a:gd name="connsiteX182" fmla="*/ 1497744 w 42198532"/>
              <a:gd name="connsiteY182" fmla="*/ 5246742 h 7004830"/>
              <a:gd name="connsiteX183" fmla="*/ 1513518 w 42198532"/>
              <a:gd name="connsiteY183" fmla="*/ 5234125 h 7004830"/>
              <a:gd name="connsiteX184" fmla="*/ 1513518 w 42198532"/>
              <a:gd name="connsiteY184" fmla="*/ 5217565 h 7004830"/>
              <a:gd name="connsiteX185" fmla="*/ 1495378 w 42198532"/>
              <a:gd name="connsiteY185" fmla="*/ 5231759 h 7004830"/>
              <a:gd name="connsiteX186" fmla="*/ 1495378 w 42198532"/>
              <a:gd name="connsiteY186" fmla="*/ 4885580 h 7004830"/>
              <a:gd name="connsiteX187" fmla="*/ 1513518 w 42198532"/>
              <a:gd name="connsiteY187" fmla="*/ 4871386 h 7004830"/>
              <a:gd name="connsiteX188" fmla="*/ 1513518 w 42198532"/>
              <a:gd name="connsiteY188" fmla="*/ 4854826 h 7004830"/>
              <a:gd name="connsiteX189" fmla="*/ 1489068 w 42198532"/>
              <a:gd name="connsiteY189" fmla="*/ 4873752 h 7004830"/>
              <a:gd name="connsiteX190" fmla="*/ 1123900 w 42198532"/>
              <a:gd name="connsiteY190" fmla="*/ 4596178 h 7004830"/>
              <a:gd name="connsiteX191" fmla="*/ 1488280 w 42198532"/>
              <a:gd name="connsiteY191" fmla="*/ 4313873 h 7004830"/>
              <a:gd name="connsiteX192" fmla="*/ 1853448 w 42198532"/>
              <a:gd name="connsiteY192" fmla="*/ 4591447 h 7004830"/>
              <a:gd name="connsiteX193" fmla="*/ 1514307 w 42198532"/>
              <a:gd name="connsiteY193" fmla="*/ 4854826 h 7004830"/>
              <a:gd name="connsiteX194" fmla="*/ 1514307 w 42198532"/>
              <a:gd name="connsiteY194" fmla="*/ 4870598 h 7004830"/>
              <a:gd name="connsiteX195" fmla="*/ 1857392 w 42198532"/>
              <a:gd name="connsiteY195" fmla="*/ 4604852 h 7004830"/>
              <a:gd name="connsiteX196" fmla="*/ 1857392 w 42198532"/>
              <a:gd name="connsiteY196" fmla="*/ 4951031 h 7004830"/>
              <a:gd name="connsiteX197" fmla="*/ 1514307 w 42198532"/>
              <a:gd name="connsiteY197" fmla="*/ 5217565 h 7004830"/>
              <a:gd name="connsiteX198" fmla="*/ 1514307 w 42198532"/>
              <a:gd name="connsiteY198" fmla="*/ 5234125 h 7004830"/>
              <a:gd name="connsiteX199" fmla="*/ 1870800 w 42198532"/>
              <a:gd name="connsiteY199" fmla="*/ 4957339 h 7004830"/>
              <a:gd name="connsiteX200" fmla="*/ 1870800 w 42198532"/>
              <a:gd name="connsiteY200" fmla="*/ 4588292 h 7004830"/>
              <a:gd name="connsiteX201" fmla="*/ 1497744 w 42198532"/>
              <a:gd name="connsiteY201" fmla="*/ 4304410 h 7004830"/>
              <a:gd name="connsiteX202" fmla="*/ 1497744 w 42198532"/>
              <a:gd name="connsiteY202" fmla="*/ 3956654 h 7004830"/>
              <a:gd name="connsiteX203" fmla="*/ 1484336 w 42198532"/>
              <a:gd name="connsiteY203" fmla="*/ 3966905 h 7004830"/>
              <a:gd name="connsiteX204" fmla="*/ 1484336 w 42198532"/>
              <a:gd name="connsiteY204" fmla="*/ 4299679 h 7004830"/>
              <a:gd name="connsiteX205" fmla="*/ 1122322 w 42198532"/>
              <a:gd name="connsiteY205" fmla="*/ 4579618 h 7004830"/>
              <a:gd name="connsiteX206" fmla="*/ 1122322 w 42198532"/>
              <a:gd name="connsiteY206" fmla="*/ 4233439 h 7004830"/>
              <a:gd name="connsiteX207" fmla="*/ 1484336 w 42198532"/>
              <a:gd name="connsiteY207" fmla="*/ 3952712 h 7004830"/>
              <a:gd name="connsiteX208" fmla="*/ 1484336 w 42198532"/>
              <a:gd name="connsiteY208" fmla="*/ 3966117 h 7004830"/>
              <a:gd name="connsiteX209" fmla="*/ 1497744 w 42198532"/>
              <a:gd name="connsiteY209" fmla="*/ 3955866 h 7004830"/>
              <a:gd name="connsiteX210" fmla="*/ 1497744 w 42198532"/>
              <a:gd name="connsiteY210" fmla="*/ 3936152 h 7004830"/>
              <a:gd name="connsiteX211" fmla="*/ 1136519 w 42198532"/>
              <a:gd name="connsiteY211" fmla="*/ 3661732 h 7004830"/>
              <a:gd name="connsiteX212" fmla="*/ 1125477 w 42198532"/>
              <a:gd name="connsiteY212" fmla="*/ 3669618 h 7004830"/>
              <a:gd name="connsiteX213" fmla="*/ 1135730 w 42198532"/>
              <a:gd name="connsiteY213" fmla="*/ 3660943 h 7004830"/>
              <a:gd name="connsiteX214" fmla="*/ 1119956 w 42198532"/>
              <a:gd name="connsiteY214" fmla="*/ 3649115 h 7004830"/>
              <a:gd name="connsiteX215" fmla="*/ 1119956 w 42198532"/>
              <a:gd name="connsiteY215" fmla="*/ 3637286 h 7004830"/>
              <a:gd name="connsiteX216" fmla="*/ 1106548 w 42198532"/>
              <a:gd name="connsiteY216" fmla="*/ 3637286 h 7004830"/>
              <a:gd name="connsiteX217" fmla="*/ 1106548 w 42198532"/>
              <a:gd name="connsiteY217" fmla="*/ 3649903 h 7004830"/>
              <a:gd name="connsiteX218" fmla="*/ 744534 w 42198532"/>
              <a:gd name="connsiteY218" fmla="*/ 3929843 h 7004830"/>
              <a:gd name="connsiteX219" fmla="*/ 744534 w 42198532"/>
              <a:gd name="connsiteY219" fmla="*/ 3612841 h 7004830"/>
              <a:gd name="connsiteX220" fmla="*/ 744534 w 42198532"/>
              <a:gd name="connsiteY220" fmla="*/ 3584453 h 7004830"/>
              <a:gd name="connsiteX221" fmla="*/ 1106548 w 42198532"/>
              <a:gd name="connsiteY221" fmla="*/ 3303725 h 7004830"/>
              <a:gd name="connsiteX222" fmla="*/ 1106548 w 42198532"/>
              <a:gd name="connsiteY222" fmla="*/ 3617573 h 7004830"/>
              <a:gd name="connsiteX223" fmla="*/ 1106548 w 42198532"/>
              <a:gd name="connsiteY223" fmla="*/ 3636498 h 7004830"/>
              <a:gd name="connsiteX224" fmla="*/ 1119956 w 42198532"/>
              <a:gd name="connsiteY224" fmla="*/ 3636498 h 7004830"/>
              <a:gd name="connsiteX225" fmla="*/ 1119956 w 42198532"/>
              <a:gd name="connsiteY225" fmla="*/ 3298205 h 7004830"/>
              <a:gd name="connsiteX226" fmla="*/ 1392847 w 42198532"/>
              <a:gd name="connsiteY226" fmla="*/ 3086870 h 7004830"/>
              <a:gd name="connsiteX227" fmla="*/ 1483547 w 42198532"/>
              <a:gd name="connsiteY227" fmla="*/ 3016688 h 7004830"/>
              <a:gd name="connsiteX228" fmla="*/ 1862913 w 42198532"/>
              <a:gd name="connsiteY228" fmla="*/ 3304513 h 7004830"/>
              <a:gd name="connsiteX229" fmla="*/ 2243855 w 42198532"/>
              <a:gd name="connsiteY229" fmla="*/ 3008803 h 7004830"/>
              <a:gd name="connsiteX230" fmla="*/ 2243855 w 42198532"/>
              <a:gd name="connsiteY230" fmla="*/ 2891307 h 7004830"/>
              <a:gd name="connsiteX231" fmla="*/ 2231236 w 42198532"/>
              <a:gd name="connsiteY231" fmla="*/ 2896827 h 7004830"/>
              <a:gd name="connsiteX232" fmla="*/ 2231236 w 42198532"/>
              <a:gd name="connsiteY232" fmla="*/ 3002494 h 7004830"/>
              <a:gd name="connsiteX233" fmla="*/ 1869222 w 42198532"/>
              <a:gd name="connsiteY233" fmla="*/ 3283222 h 7004830"/>
              <a:gd name="connsiteX234" fmla="*/ 1869222 w 42198532"/>
              <a:gd name="connsiteY234" fmla="*/ 2937043 h 7004830"/>
              <a:gd name="connsiteX235" fmla="*/ 2231236 w 42198532"/>
              <a:gd name="connsiteY235" fmla="*/ 2656315 h 7004830"/>
              <a:gd name="connsiteX236" fmla="*/ 2231236 w 42198532"/>
              <a:gd name="connsiteY236" fmla="*/ 2896038 h 7004830"/>
              <a:gd name="connsiteX237" fmla="*/ 2243855 w 42198532"/>
              <a:gd name="connsiteY237" fmla="*/ 2890518 h 7004830"/>
              <a:gd name="connsiteX238" fmla="*/ 2243855 w 42198532"/>
              <a:gd name="connsiteY238" fmla="*/ 2639755 h 7004830"/>
              <a:gd name="connsiteX239" fmla="*/ 2113720 w 42198532"/>
              <a:gd name="connsiteY239" fmla="*/ 2540397 h 7004830"/>
              <a:gd name="connsiteX240" fmla="*/ 2100312 w 42198532"/>
              <a:gd name="connsiteY240" fmla="*/ 2546705 h 7004830"/>
              <a:gd name="connsiteX241" fmla="*/ 2226503 w 42198532"/>
              <a:gd name="connsiteY241" fmla="*/ 2642910 h 7004830"/>
              <a:gd name="connsiteX242" fmla="*/ 1862124 w 42198532"/>
              <a:gd name="connsiteY242" fmla="*/ 2925215 h 7004830"/>
              <a:gd name="connsiteX243" fmla="*/ 1496955 w 42198532"/>
              <a:gd name="connsiteY243" fmla="*/ 2647641 h 7004830"/>
              <a:gd name="connsiteX244" fmla="*/ 1861335 w 42198532"/>
              <a:gd name="connsiteY244" fmla="*/ 2365336 h 7004830"/>
              <a:gd name="connsiteX245" fmla="*/ 2099523 w 42198532"/>
              <a:gd name="connsiteY245" fmla="*/ 2545916 h 7004830"/>
              <a:gd name="connsiteX246" fmla="*/ 2112931 w 42198532"/>
              <a:gd name="connsiteY246" fmla="*/ 2539608 h 7004830"/>
              <a:gd name="connsiteX247" fmla="*/ 1870800 w 42198532"/>
              <a:gd name="connsiteY247" fmla="*/ 2355873 h 7004830"/>
              <a:gd name="connsiteX248" fmla="*/ 1870800 w 42198532"/>
              <a:gd name="connsiteY248" fmla="*/ 2176869 h 7004830"/>
              <a:gd name="connsiteX249" fmla="*/ 1857392 w 42198532"/>
              <a:gd name="connsiteY249" fmla="*/ 2178447 h 7004830"/>
              <a:gd name="connsiteX250" fmla="*/ 1857392 w 42198532"/>
              <a:gd name="connsiteY250" fmla="*/ 2350353 h 7004830"/>
              <a:gd name="connsiteX251" fmla="*/ 1496167 w 42198532"/>
              <a:gd name="connsiteY251" fmla="*/ 2631081 h 7004830"/>
              <a:gd name="connsiteX252" fmla="*/ 1496167 w 42198532"/>
              <a:gd name="connsiteY252" fmla="*/ 2284114 h 7004830"/>
              <a:gd name="connsiteX253" fmla="*/ 1666526 w 42198532"/>
              <a:gd name="connsiteY253" fmla="*/ 2152424 h 7004830"/>
              <a:gd name="connsiteX254" fmla="*/ 1658639 w 42198532"/>
              <a:gd name="connsiteY254" fmla="*/ 2141384 h 7004830"/>
              <a:gd name="connsiteX255" fmla="*/ 1666526 w 42198532"/>
              <a:gd name="connsiteY255" fmla="*/ 2151636 h 7004830"/>
              <a:gd name="connsiteX256" fmla="*/ 1857392 w 42198532"/>
              <a:gd name="connsiteY256" fmla="*/ 2003386 h 7004830"/>
              <a:gd name="connsiteX257" fmla="*/ 1857392 w 42198532"/>
              <a:gd name="connsiteY257" fmla="*/ 2177658 h 7004830"/>
              <a:gd name="connsiteX258" fmla="*/ 1870800 w 42198532"/>
              <a:gd name="connsiteY258" fmla="*/ 2176081 h 7004830"/>
              <a:gd name="connsiteX259" fmla="*/ 1870800 w 42198532"/>
              <a:gd name="connsiteY259" fmla="*/ 1998654 h 7004830"/>
              <a:gd name="connsiteX260" fmla="*/ 1886574 w 42198532"/>
              <a:gd name="connsiteY260" fmla="*/ 1986037 h 7004830"/>
              <a:gd name="connsiteX261" fmla="*/ 1886574 w 42198532"/>
              <a:gd name="connsiteY261" fmla="*/ 1969478 h 7004830"/>
              <a:gd name="connsiteX262" fmla="*/ 1869222 w 42198532"/>
              <a:gd name="connsiteY262" fmla="*/ 1982883 h 7004830"/>
              <a:gd name="connsiteX263" fmla="*/ 1869222 w 42198532"/>
              <a:gd name="connsiteY263" fmla="*/ 1636704 h 7004830"/>
              <a:gd name="connsiteX264" fmla="*/ 1886574 w 42198532"/>
              <a:gd name="connsiteY264" fmla="*/ 1623299 h 7004830"/>
              <a:gd name="connsiteX265" fmla="*/ 1886574 w 42198532"/>
              <a:gd name="connsiteY265" fmla="*/ 1606739 h 7004830"/>
              <a:gd name="connsiteX266" fmla="*/ 1862124 w 42198532"/>
              <a:gd name="connsiteY266" fmla="*/ 1625665 h 7004830"/>
              <a:gd name="connsiteX267" fmla="*/ 1496955 w 42198532"/>
              <a:gd name="connsiteY267" fmla="*/ 1348091 h 7004830"/>
              <a:gd name="connsiteX268" fmla="*/ 1861335 w 42198532"/>
              <a:gd name="connsiteY268" fmla="*/ 1064997 h 7004830"/>
              <a:gd name="connsiteX269" fmla="*/ 2226503 w 42198532"/>
              <a:gd name="connsiteY269" fmla="*/ 1342571 h 7004830"/>
              <a:gd name="connsiteX270" fmla="*/ 1887362 w 42198532"/>
              <a:gd name="connsiteY270" fmla="*/ 1605951 h 7004830"/>
              <a:gd name="connsiteX271" fmla="*/ 1887362 w 42198532"/>
              <a:gd name="connsiteY271" fmla="*/ 1622510 h 7004830"/>
              <a:gd name="connsiteX272" fmla="*/ 2231236 w 42198532"/>
              <a:gd name="connsiteY272" fmla="*/ 1355976 h 7004830"/>
              <a:gd name="connsiteX273" fmla="*/ 2231236 w 42198532"/>
              <a:gd name="connsiteY273" fmla="*/ 1702944 h 7004830"/>
              <a:gd name="connsiteX274" fmla="*/ 1887362 w 42198532"/>
              <a:gd name="connsiteY274" fmla="*/ 1968689 h 7004830"/>
              <a:gd name="connsiteX275" fmla="*/ 1887362 w 42198532"/>
              <a:gd name="connsiteY275" fmla="*/ 1985249 h 7004830"/>
              <a:gd name="connsiteX276" fmla="*/ 2243855 w 42198532"/>
              <a:gd name="connsiteY276" fmla="*/ 1709252 h 7004830"/>
              <a:gd name="connsiteX277" fmla="*/ 2243855 w 42198532"/>
              <a:gd name="connsiteY277" fmla="*/ 1339416 h 7004830"/>
              <a:gd name="connsiteX278" fmla="*/ 1870800 w 42198532"/>
              <a:gd name="connsiteY278" fmla="*/ 1056323 h 7004830"/>
              <a:gd name="connsiteX279" fmla="*/ 1870800 w 42198532"/>
              <a:gd name="connsiteY279" fmla="*/ 707778 h 7004830"/>
              <a:gd name="connsiteX280" fmla="*/ 1857392 w 42198532"/>
              <a:gd name="connsiteY280" fmla="*/ 718030 h 7004830"/>
              <a:gd name="connsiteX281" fmla="*/ 1857392 w 42198532"/>
              <a:gd name="connsiteY281" fmla="*/ 1050803 h 7004830"/>
              <a:gd name="connsiteX282" fmla="*/ 1496167 w 42198532"/>
              <a:gd name="connsiteY282" fmla="*/ 1331531 h 7004830"/>
              <a:gd name="connsiteX283" fmla="*/ 1496167 w 42198532"/>
              <a:gd name="connsiteY283" fmla="*/ 985352 h 7004830"/>
              <a:gd name="connsiteX284" fmla="*/ 1857392 w 42198532"/>
              <a:gd name="connsiteY284" fmla="*/ 704624 h 7004830"/>
              <a:gd name="connsiteX285" fmla="*/ 1857392 w 42198532"/>
              <a:gd name="connsiteY285" fmla="*/ 717241 h 7004830"/>
              <a:gd name="connsiteX286" fmla="*/ 1870800 w 42198532"/>
              <a:gd name="connsiteY286" fmla="*/ 706990 h 7004830"/>
              <a:gd name="connsiteX287" fmla="*/ 1870800 w 42198532"/>
              <a:gd name="connsiteY287" fmla="*/ 688064 h 7004830"/>
              <a:gd name="connsiteX288" fmla="*/ 1509574 w 42198532"/>
              <a:gd name="connsiteY288" fmla="*/ 412856 h 7004830"/>
              <a:gd name="connsiteX289" fmla="*/ 1498533 w 42198532"/>
              <a:gd name="connsiteY289" fmla="*/ 421530 h 7004830"/>
              <a:gd name="connsiteX290" fmla="*/ 1508786 w 42198532"/>
              <a:gd name="connsiteY290" fmla="*/ 412856 h 7004830"/>
              <a:gd name="connsiteX291" fmla="*/ 1493012 w 42198532"/>
              <a:gd name="connsiteY291" fmla="*/ 401028 h 7004830"/>
              <a:gd name="connsiteX292" fmla="*/ 1493012 w 42198532"/>
              <a:gd name="connsiteY292" fmla="*/ 119417 h 7004830"/>
              <a:gd name="connsiteX293" fmla="*/ 1493012 w 42198532"/>
              <a:gd name="connsiteY293" fmla="*/ 117464 h 7004830"/>
              <a:gd name="connsiteX294" fmla="*/ 1398859 w 42198532"/>
              <a:gd name="connsiteY294" fmla="*/ 117464 h 7004830"/>
              <a:gd name="connsiteX295" fmla="*/ 1480393 w 42198532"/>
              <a:gd name="connsiteY295" fmla="*/ 117464 h 7004830"/>
              <a:gd name="connsiteX296" fmla="*/ 1480393 w 42198532"/>
              <a:gd name="connsiteY296" fmla="*/ 201868 h 7004830"/>
              <a:gd name="connsiteX297" fmla="*/ 1480393 w 42198532"/>
              <a:gd name="connsiteY297" fmla="*/ 401028 h 7004830"/>
              <a:gd name="connsiteX298" fmla="*/ 1118379 w 42198532"/>
              <a:gd name="connsiteY298" fmla="*/ 681756 h 7004830"/>
              <a:gd name="connsiteX299" fmla="*/ 1118379 w 42198532"/>
              <a:gd name="connsiteY299" fmla="*/ 335577 h 7004830"/>
              <a:gd name="connsiteX300" fmla="*/ 1379242 w 42198532"/>
              <a:gd name="connsiteY300" fmla="*/ 132719 h 7004830"/>
              <a:gd name="connsiteX301" fmla="*/ 1398859 w 42198532"/>
              <a:gd name="connsiteY301" fmla="*/ 117464 h 7004830"/>
              <a:gd name="connsiteX302" fmla="*/ 840168 w 42198532"/>
              <a:gd name="connsiteY302" fmla="*/ 117464 h 7004830"/>
              <a:gd name="connsiteX303" fmla="*/ 1377550 w 42198532"/>
              <a:gd name="connsiteY303" fmla="*/ 117464 h 7004830"/>
              <a:gd name="connsiteX304" fmla="*/ 1301753 w 42198532"/>
              <a:gd name="connsiteY304" fmla="*/ 176360 h 7004830"/>
              <a:gd name="connsiteX305" fmla="*/ 1112069 w 42198532"/>
              <a:gd name="connsiteY305" fmla="*/ 323748 h 7004830"/>
              <a:gd name="connsiteX306" fmla="*/ 857417 w 42198532"/>
              <a:gd name="connsiteY306" fmla="*/ 130551 h 7004830"/>
              <a:gd name="connsiteX307" fmla="*/ 840168 w 42198532"/>
              <a:gd name="connsiteY307" fmla="*/ 117464 h 700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42198532" h="7004830">
                <a:moveTo>
                  <a:pt x="738225" y="6911396"/>
                </a:moveTo>
                <a:lnTo>
                  <a:pt x="814828" y="6969750"/>
                </a:lnTo>
                <a:lnTo>
                  <a:pt x="822329" y="6975464"/>
                </a:lnTo>
                <a:lnTo>
                  <a:pt x="655724" y="6975464"/>
                </a:lnTo>
                <a:lnTo>
                  <a:pt x="656989" y="6974481"/>
                </a:lnTo>
                <a:lnTo>
                  <a:pt x="738225" y="6911396"/>
                </a:lnTo>
                <a:close/>
                <a:moveTo>
                  <a:pt x="733493" y="6551812"/>
                </a:moveTo>
                <a:lnTo>
                  <a:pt x="733493" y="6897991"/>
                </a:lnTo>
                <a:lnTo>
                  <a:pt x="639637" y="6970539"/>
                </a:lnTo>
                <a:cubicBezTo>
                  <a:pt x="645158" y="6972116"/>
                  <a:pt x="650679" y="6972904"/>
                  <a:pt x="656989" y="6974481"/>
                </a:cubicBezTo>
                <a:cubicBezTo>
                  <a:pt x="650679" y="6973693"/>
                  <a:pt x="644369" y="6972116"/>
                  <a:pt x="638848" y="6971327"/>
                </a:cubicBezTo>
                <a:lnTo>
                  <a:pt x="633515" y="6975464"/>
                </a:lnTo>
                <a:lnTo>
                  <a:pt x="371479" y="6975464"/>
                </a:lnTo>
                <a:lnTo>
                  <a:pt x="371479" y="6917056"/>
                </a:lnTo>
                <a:lnTo>
                  <a:pt x="371479" y="6832540"/>
                </a:lnTo>
                <a:lnTo>
                  <a:pt x="733493" y="6551812"/>
                </a:lnTo>
                <a:close/>
                <a:moveTo>
                  <a:pt x="1106548" y="5904403"/>
                </a:moveTo>
                <a:lnTo>
                  <a:pt x="1106548" y="6251370"/>
                </a:lnTo>
                <a:lnTo>
                  <a:pt x="1012693" y="6323918"/>
                </a:lnTo>
                <a:lnTo>
                  <a:pt x="744534" y="6531309"/>
                </a:lnTo>
                <a:lnTo>
                  <a:pt x="744534" y="6185131"/>
                </a:lnTo>
                <a:lnTo>
                  <a:pt x="873093" y="6085772"/>
                </a:lnTo>
                <a:lnTo>
                  <a:pt x="1106548" y="5904403"/>
                </a:lnTo>
                <a:close/>
                <a:moveTo>
                  <a:pt x="1739875" y="5788484"/>
                </a:moveTo>
                <a:lnTo>
                  <a:pt x="1726467" y="5794792"/>
                </a:lnTo>
                <a:lnTo>
                  <a:pt x="1739875" y="5788484"/>
                </a:lnTo>
                <a:close/>
                <a:moveTo>
                  <a:pt x="1488280" y="5613423"/>
                </a:moveTo>
                <a:lnTo>
                  <a:pt x="1726467" y="5794792"/>
                </a:lnTo>
                <a:lnTo>
                  <a:pt x="1853448" y="5890997"/>
                </a:lnTo>
                <a:lnTo>
                  <a:pt x="1489068" y="6174091"/>
                </a:lnTo>
                <a:lnTo>
                  <a:pt x="1123900" y="5896517"/>
                </a:lnTo>
                <a:lnTo>
                  <a:pt x="1488280" y="5613423"/>
                </a:lnTo>
                <a:close/>
                <a:moveTo>
                  <a:pt x="359648" y="4965225"/>
                </a:moveTo>
                <a:lnTo>
                  <a:pt x="724817" y="5242799"/>
                </a:lnTo>
                <a:lnTo>
                  <a:pt x="487418" y="5426534"/>
                </a:lnTo>
                <a:lnTo>
                  <a:pt x="493727" y="5437574"/>
                </a:lnTo>
                <a:lnTo>
                  <a:pt x="733493" y="5252262"/>
                </a:lnTo>
                <a:lnTo>
                  <a:pt x="733493" y="5598440"/>
                </a:lnTo>
                <a:lnTo>
                  <a:pt x="633328" y="5675720"/>
                </a:lnTo>
                <a:lnTo>
                  <a:pt x="641215" y="5688337"/>
                </a:lnTo>
                <a:lnTo>
                  <a:pt x="737436" y="5613423"/>
                </a:lnTo>
                <a:lnTo>
                  <a:pt x="1102605" y="5890997"/>
                </a:lnTo>
                <a:lnTo>
                  <a:pt x="866783" y="6073943"/>
                </a:lnTo>
                <a:lnTo>
                  <a:pt x="873093" y="6085772"/>
                </a:lnTo>
                <a:lnTo>
                  <a:pt x="865994" y="6074732"/>
                </a:lnTo>
                <a:lnTo>
                  <a:pt x="738225" y="6174091"/>
                </a:lnTo>
                <a:lnTo>
                  <a:pt x="373056" y="5896517"/>
                </a:lnTo>
                <a:lnTo>
                  <a:pt x="640426" y="5689125"/>
                </a:lnTo>
                <a:lnTo>
                  <a:pt x="633328" y="5676508"/>
                </a:lnTo>
                <a:lnTo>
                  <a:pt x="371479" y="5879169"/>
                </a:lnTo>
                <a:lnTo>
                  <a:pt x="371479" y="5532990"/>
                </a:lnTo>
                <a:lnTo>
                  <a:pt x="493727" y="5438362"/>
                </a:lnTo>
                <a:lnTo>
                  <a:pt x="486629" y="5426534"/>
                </a:lnTo>
                <a:lnTo>
                  <a:pt x="365169" y="5521161"/>
                </a:lnTo>
                <a:lnTo>
                  <a:pt x="0" y="5243588"/>
                </a:lnTo>
                <a:lnTo>
                  <a:pt x="359648" y="4965225"/>
                </a:lnTo>
                <a:close/>
                <a:moveTo>
                  <a:pt x="1106548" y="4604852"/>
                </a:moveTo>
                <a:lnTo>
                  <a:pt x="1106548" y="4951031"/>
                </a:lnTo>
                <a:lnTo>
                  <a:pt x="1018214" y="5019636"/>
                </a:lnTo>
                <a:lnTo>
                  <a:pt x="1025312" y="5030676"/>
                </a:lnTo>
                <a:lnTo>
                  <a:pt x="1017425" y="5020424"/>
                </a:lnTo>
                <a:lnTo>
                  <a:pt x="744534" y="5231759"/>
                </a:lnTo>
                <a:lnTo>
                  <a:pt x="744534" y="4885580"/>
                </a:lnTo>
                <a:lnTo>
                  <a:pt x="856530" y="4798050"/>
                </a:lnTo>
                <a:lnTo>
                  <a:pt x="849432" y="4787799"/>
                </a:lnTo>
                <a:lnTo>
                  <a:pt x="857319" y="4798050"/>
                </a:lnTo>
                <a:lnTo>
                  <a:pt x="1106548" y="4604852"/>
                </a:lnTo>
                <a:close/>
                <a:moveTo>
                  <a:pt x="737436" y="4313873"/>
                </a:moveTo>
                <a:lnTo>
                  <a:pt x="1102605" y="4591447"/>
                </a:lnTo>
                <a:lnTo>
                  <a:pt x="849432" y="4787799"/>
                </a:lnTo>
                <a:lnTo>
                  <a:pt x="738225" y="4873752"/>
                </a:lnTo>
                <a:lnTo>
                  <a:pt x="373056" y="4596178"/>
                </a:lnTo>
                <a:lnTo>
                  <a:pt x="737436" y="4313873"/>
                </a:lnTo>
                <a:close/>
                <a:moveTo>
                  <a:pt x="1115224" y="3661732"/>
                </a:moveTo>
                <a:lnTo>
                  <a:pt x="1125477" y="3669618"/>
                </a:lnTo>
                <a:lnTo>
                  <a:pt x="1480393" y="3939306"/>
                </a:lnTo>
                <a:lnTo>
                  <a:pt x="1116013" y="4222399"/>
                </a:lnTo>
                <a:lnTo>
                  <a:pt x="750844" y="3944037"/>
                </a:lnTo>
                <a:lnTo>
                  <a:pt x="1115224" y="3661732"/>
                </a:lnTo>
                <a:close/>
                <a:moveTo>
                  <a:pt x="1480393" y="2656315"/>
                </a:moveTo>
                <a:lnTo>
                  <a:pt x="1480393" y="3002494"/>
                </a:lnTo>
                <a:lnTo>
                  <a:pt x="1386537" y="3075042"/>
                </a:lnTo>
                <a:lnTo>
                  <a:pt x="1392847" y="3086870"/>
                </a:lnTo>
                <a:lnTo>
                  <a:pt x="1385748" y="3075830"/>
                </a:lnTo>
                <a:lnTo>
                  <a:pt x="1118379" y="3283222"/>
                </a:lnTo>
                <a:lnTo>
                  <a:pt x="1118379" y="2937043"/>
                </a:lnTo>
                <a:lnTo>
                  <a:pt x="1246148" y="2837685"/>
                </a:lnTo>
                <a:lnTo>
                  <a:pt x="1239839" y="2825856"/>
                </a:lnTo>
                <a:lnTo>
                  <a:pt x="1246937" y="2836896"/>
                </a:lnTo>
                <a:lnTo>
                  <a:pt x="1480393" y="2656315"/>
                </a:lnTo>
                <a:close/>
                <a:moveTo>
                  <a:pt x="732704" y="1716349"/>
                </a:moveTo>
                <a:lnTo>
                  <a:pt x="1097873" y="1993923"/>
                </a:lnTo>
                <a:lnTo>
                  <a:pt x="860473" y="2177658"/>
                </a:lnTo>
                <a:lnTo>
                  <a:pt x="867572" y="2189486"/>
                </a:lnTo>
                <a:lnTo>
                  <a:pt x="1106548" y="2003386"/>
                </a:lnTo>
                <a:lnTo>
                  <a:pt x="1106548" y="2350353"/>
                </a:lnTo>
                <a:lnTo>
                  <a:pt x="1007172" y="2427632"/>
                </a:lnTo>
                <a:lnTo>
                  <a:pt x="1014270" y="2440249"/>
                </a:lnTo>
                <a:lnTo>
                  <a:pt x="1110492" y="2365336"/>
                </a:lnTo>
                <a:lnTo>
                  <a:pt x="1475660" y="2642910"/>
                </a:lnTo>
                <a:lnTo>
                  <a:pt x="1239839" y="2825856"/>
                </a:lnTo>
                <a:lnTo>
                  <a:pt x="1112069" y="2925215"/>
                </a:lnTo>
                <a:lnTo>
                  <a:pt x="746900" y="2647641"/>
                </a:lnTo>
                <a:lnTo>
                  <a:pt x="1013481" y="2440249"/>
                </a:lnTo>
                <a:lnTo>
                  <a:pt x="1006383" y="2427632"/>
                </a:lnTo>
                <a:lnTo>
                  <a:pt x="744534" y="2631081"/>
                </a:lnTo>
                <a:lnTo>
                  <a:pt x="744534" y="2284114"/>
                </a:lnTo>
                <a:lnTo>
                  <a:pt x="866783" y="2189486"/>
                </a:lnTo>
                <a:lnTo>
                  <a:pt x="860473" y="2178447"/>
                </a:lnTo>
                <a:lnTo>
                  <a:pt x="738225" y="2273074"/>
                </a:lnTo>
                <a:lnTo>
                  <a:pt x="373056" y="1995500"/>
                </a:lnTo>
                <a:lnTo>
                  <a:pt x="732704" y="1716349"/>
                </a:lnTo>
                <a:close/>
                <a:moveTo>
                  <a:pt x="1480393" y="1355976"/>
                </a:moveTo>
                <a:lnTo>
                  <a:pt x="1480393" y="1702944"/>
                </a:lnTo>
                <a:lnTo>
                  <a:pt x="1391269" y="1771549"/>
                </a:lnTo>
                <a:lnTo>
                  <a:pt x="1399156" y="1781800"/>
                </a:lnTo>
                <a:lnTo>
                  <a:pt x="1483547" y="1716349"/>
                </a:lnTo>
                <a:lnTo>
                  <a:pt x="1848716" y="1993923"/>
                </a:lnTo>
                <a:lnTo>
                  <a:pt x="1658639" y="2141384"/>
                </a:lnTo>
                <a:lnTo>
                  <a:pt x="1489068" y="2273074"/>
                </a:lnTo>
                <a:lnTo>
                  <a:pt x="1123900" y="1995500"/>
                </a:lnTo>
                <a:lnTo>
                  <a:pt x="1398368" y="1782588"/>
                </a:lnTo>
                <a:lnTo>
                  <a:pt x="1390481" y="1771549"/>
                </a:lnTo>
                <a:lnTo>
                  <a:pt x="1118379" y="1982883"/>
                </a:lnTo>
                <a:lnTo>
                  <a:pt x="1118379" y="1636704"/>
                </a:lnTo>
                <a:lnTo>
                  <a:pt x="1230374" y="1549963"/>
                </a:lnTo>
                <a:lnTo>
                  <a:pt x="1480393" y="1355976"/>
                </a:lnTo>
                <a:close/>
                <a:moveTo>
                  <a:pt x="1110492" y="1064997"/>
                </a:moveTo>
                <a:lnTo>
                  <a:pt x="1475660" y="1342571"/>
                </a:lnTo>
                <a:lnTo>
                  <a:pt x="1223276" y="1538923"/>
                </a:lnTo>
                <a:lnTo>
                  <a:pt x="1230374" y="1549963"/>
                </a:lnTo>
                <a:lnTo>
                  <a:pt x="1222487" y="1539711"/>
                </a:lnTo>
                <a:lnTo>
                  <a:pt x="1112069" y="1625665"/>
                </a:lnTo>
                <a:lnTo>
                  <a:pt x="746900" y="1348091"/>
                </a:lnTo>
                <a:lnTo>
                  <a:pt x="1110492" y="1064997"/>
                </a:lnTo>
                <a:close/>
                <a:moveTo>
                  <a:pt x="1488280" y="413645"/>
                </a:moveTo>
                <a:lnTo>
                  <a:pt x="1498533" y="421530"/>
                </a:lnTo>
                <a:lnTo>
                  <a:pt x="1853448" y="691218"/>
                </a:lnTo>
                <a:lnTo>
                  <a:pt x="1489068" y="973524"/>
                </a:lnTo>
                <a:lnTo>
                  <a:pt x="1123900" y="695950"/>
                </a:lnTo>
                <a:lnTo>
                  <a:pt x="1488280" y="413645"/>
                </a:lnTo>
                <a:close/>
                <a:moveTo>
                  <a:pt x="1493012" y="117464"/>
                </a:moveTo>
                <a:lnTo>
                  <a:pt x="42118086" y="0"/>
                </a:lnTo>
                <a:lnTo>
                  <a:pt x="42198532" y="7004830"/>
                </a:lnTo>
                <a:lnTo>
                  <a:pt x="843615" y="6975464"/>
                </a:lnTo>
                <a:lnTo>
                  <a:pt x="810785" y="6950504"/>
                </a:lnTo>
                <a:lnTo>
                  <a:pt x="746900" y="6901934"/>
                </a:lnTo>
                <a:lnTo>
                  <a:pt x="746900" y="6547081"/>
                </a:lnTo>
                <a:lnTo>
                  <a:pt x="1019002" y="6335746"/>
                </a:lnTo>
                <a:lnTo>
                  <a:pt x="1012693" y="6323918"/>
                </a:lnTo>
                <a:lnTo>
                  <a:pt x="1019791" y="6334957"/>
                </a:lnTo>
                <a:lnTo>
                  <a:pt x="1110492" y="6264775"/>
                </a:lnTo>
                <a:lnTo>
                  <a:pt x="1489068" y="6553389"/>
                </a:lnTo>
                <a:lnTo>
                  <a:pt x="1870800" y="6257678"/>
                </a:lnTo>
                <a:lnTo>
                  <a:pt x="1870800" y="6139394"/>
                </a:lnTo>
                <a:lnTo>
                  <a:pt x="1857392" y="6144914"/>
                </a:lnTo>
                <a:lnTo>
                  <a:pt x="1857392" y="6251370"/>
                </a:lnTo>
                <a:lnTo>
                  <a:pt x="1495378" y="6531309"/>
                </a:lnTo>
                <a:lnTo>
                  <a:pt x="1495378" y="6185131"/>
                </a:lnTo>
                <a:lnTo>
                  <a:pt x="1857392" y="5904403"/>
                </a:lnTo>
                <a:lnTo>
                  <a:pt x="1857392" y="6144125"/>
                </a:lnTo>
                <a:lnTo>
                  <a:pt x="1870800" y="6138605"/>
                </a:lnTo>
                <a:lnTo>
                  <a:pt x="1870800" y="5887843"/>
                </a:lnTo>
                <a:lnTo>
                  <a:pt x="1739875" y="5788484"/>
                </a:lnTo>
                <a:lnTo>
                  <a:pt x="1497744" y="5604749"/>
                </a:lnTo>
                <a:lnTo>
                  <a:pt x="1497744" y="5424957"/>
                </a:lnTo>
                <a:lnTo>
                  <a:pt x="1484336" y="5427322"/>
                </a:lnTo>
                <a:lnTo>
                  <a:pt x="1484336" y="5598440"/>
                </a:lnTo>
                <a:lnTo>
                  <a:pt x="1122322" y="5879169"/>
                </a:lnTo>
                <a:lnTo>
                  <a:pt x="1122322" y="5532990"/>
                </a:lnTo>
                <a:lnTo>
                  <a:pt x="1292682" y="5400511"/>
                </a:lnTo>
                <a:lnTo>
                  <a:pt x="1285583" y="5390260"/>
                </a:lnTo>
                <a:lnTo>
                  <a:pt x="1116013" y="5521161"/>
                </a:lnTo>
                <a:lnTo>
                  <a:pt x="750844" y="5243588"/>
                </a:lnTo>
                <a:lnTo>
                  <a:pt x="1025312" y="5030676"/>
                </a:lnTo>
                <a:lnTo>
                  <a:pt x="1110492" y="4965225"/>
                </a:lnTo>
                <a:lnTo>
                  <a:pt x="1475660" y="5242799"/>
                </a:lnTo>
                <a:lnTo>
                  <a:pt x="1285583" y="5389472"/>
                </a:lnTo>
                <a:lnTo>
                  <a:pt x="1293470" y="5400511"/>
                </a:lnTo>
                <a:lnTo>
                  <a:pt x="1484336" y="5252262"/>
                </a:lnTo>
                <a:lnTo>
                  <a:pt x="1484336" y="5426534"/>
                </a:lnTo>
                <a:lnTo>
                  <a:pt x="1497744" y="5424168"/>
                </a:lnTo>
                <a:lnTo>
                  <a:pt x="1497744" y="5246742"/>
                </a:lnTo>
                <a:lnTo>
                  <a:pt x="1513518" y="5234125"/>
                </a:lnTo>
                <a:lnTo>
                  <a:pt x="1513518" y="5217565"/>
                </a:lnTo>
                <a:lnTo>
                  <a:pt x="1495378" y="5231759"/>
                </a:lnTo>
                <a:lnTo>
                  <a:pt x="1495378" y="4885580"/>
                </a:lnTo>
                <a:lnTo>
                  <a:pt x="1513518" y="4871386"/>
                </a:lnTo>
                <a:lnTo>
                  <a:pt x="1513518" y="4854826"/>
                </a:lnTo>
                <a:lnTo>
                  <a:pt x="1489068" y="4873752"/>
                </a:lnTo>
                <a:lnTo>
                  <a:pt x="1123900" y="4596178"/>
                </a:lnTo>
                <a:lnTo>
                  <a:pt x="1488280" y="4313873"/>
                </a:lnTo>
                <a:lnTo>
                  <a:pt x="1853448" y="4591447"/>
                </a:lnTo>
                <a:lnTo>
                  <a:pt x="1514307" y="4854826"/>
                </a:lnTo>
                <a:lnTo>
                  <a:pt x="1514307" y="4870598"/>
                </a:lnTo>
                <a:lnTo>
                  <a:pt x="1857392" y="4604852"/>
                </a:lnTo>
                <a:lnTo>
                  <a:pt x="1857392" y="4951031"/>
                </a:lnTo>
                <a:lnTo>
                  <a:pt x="1514307" y="5217565"/>
                </a:lnTo>
                <a:lnTo>
                  <a:pt x="1514307" y="5234125"/>
                </a:lnTo>
                <a:lnTo>
                  <a:pt x="1870800" y="4957339"/>
                </a:lnTo>
                <a:lnTo>
                  <a:pt x="1870800" y="4588292"/>
                </a:lnTo>
                <a:lnTo>
                  <a:pt x="1497744" y="4304410"/>
                </a:lnTo>
                <a:lnTo>
                  <a:pt x="1497744" y="3956654"/>
                </a:lnTo>
                <a:lnTo>
                  <a:pt x="1484336" y="3966905"/>
                </a:lnTo>
                <a:lnTo>
                  <a:pt x="1484336" y="4299679"/>
                </a:lnTo>
                <a:lnTo>
                  <a:pt x="1122322" y="4579618"/>
                </a:lnTo>
                <a:lnTo>
                  <a:pt x="1122322" y="4233439"/>
                </a:lnTo>
                <a:lnTo>
                  <a:pt x="1484336" y="3952712"/>
                </a:lnTo>
                <a:lnTo>
                  <a:pt x="1484336" y="3966117"/>
                </a:lnTo>
                <a:lnTo>
                  <a:pt x="1497744" y="3955866"/>
                </a:lnTo>
                <a:lnTo>
                  <a:pt x="1497744" y="3936152"/>
                </a:lnTo>
                <a:lnTo>
                  <a:pt x="1136519" y="3661732"/>
                </a:lnTo>
                <a:lnTo>
                  <a:pt x="1125477" y="3669618"/>
                </a:lnTo>
                <a:lnTo>
                  <a:pt x="1135730" y="3660943"/>
                </a:lnTo>
                <a:lnTo>
                  <a:pt x="1119956" y="3649115"/>
                </a:lnTo>
                <a:lnTo>
                  <a:pt x="1119956" y="3637286"/>
                </a:lnTo>
                <a:lnTo>
                  <a:pt x="1106548" y="3637286"/>
                </a:lnTo>
                <a:lnTo>
                  <a:pt x="1106548" y="3649903"/>
                </a:lnTo>
                <a:lnTo>
                  <a:pt x="744534" y="3929843"/>
                </a:lnTo>
                <a:lnTo>
                  <a:pt x="744534" y="3612841"/>
                </a:lnTo>
                <a:lnTo>
                  <a:pt x="744534" y="3584453"/>
                </a:lnTo>
                <a:lnTo>
                  <a:pt x="1106548" y="3303725"/>
                </a:lnTo>
                <a:lnTo>
                  <a:pt x="1106548" y="3617573"/>
                </a:lnTo>
                <a:lnTo>
                  <a:pt x="1106548" y="3636498"/>
                </a:lnTo>
                <a:lnTo>
                  <a:pt x="1119956" y="3636498"/>
                </a:lnTo>
                <a:lnTo>
                  <a:pt x="1119956" y="3298205"/>
                </a:lnTo>
                <a:lnTo>
                  <a:pt x="1392847" y="3086870"/>
                </a:lnTo>
                <a:lnTo>
                  <a:pt x="1483547" y="3016688"/>
                </a:lnTo>
                <a:lnTo>
                  <a:pt x="1862913" y="3304513"/>
                </a:lnTo>
                <a:lnTo>
                  <a:pt x="2243855" y="3008803"/>
                </a:lnTo>
                <a:lnTo>
                  <a:pt x="2243855" y="2891307"/>
                </a:lnTo>
                <a:lnTo>
                  <a:pt x="2231236" y="2896827"/>
                </a:lnTo>
                <a:lnTo>
                  <a:pt x="2231236" y="3002494"/>
                </a:lnTo>
                <a:lnTo>
                  <a:pt x="1869222" y="3283222"/>
                </a:lnTo>
                <a:lnTo>
                  <a:pt x="1869222" y="2937043"/>
                </a:lnTo>
                <a:lnTo>
                  <a:pt x="2231236" y="2656315"/>
                </a:lnTo>
                <a:lnTo>
                  <a:pt x="2231236" y="2896038"/>
                </a:lnTo>
                <a:lnTo>
                  <a:pt x="2243855" y="2890518"/>
                </a:lnTo>
                <a:lnTo>
                  <a:pt x="2243855" y="2639755"/>
                </a:lnTo>
                <a:lnTo>
                  <a:pt x="2113720" y="2540397"/>
                </a:lnTo>
                <a:lnTo>
                  <a:pt x="2100312" y="2546705"/>
                </a:lnTo>
                <a:lnTo>
                  <a:pt x="2226503" y="2642910"/>
                </a:lnTo>
                <a:lnTo>
                  <a:pt x="1862124" y="2925215"/>
                </a:lnTo>
                <a:lnTo>
                  <a:pt x="1496955" y="2647641"/>
                </a:lnTo>
                <a:lnTo>
                  <a:pt x="1861335" y="2365336"/>
                </a:lnTo>
                <a:lnTo>
                  <a:pt x="2099523" y="2545916"/>
                </a:lnTo>
                <a:lnTo>
                  <a:pt x="2112931" y="2539608"/>
                </a:lnTo>
                <a:lnTo>
                  <a:pt x="1870800" y="2355873"/>
                </a:lnTo>
                <a:lnTo>
                  <a:pt x="1870800" y="2176869"/>
                </a:lnTo>
                <a:lnTo>
                  <a:pt x="1857392" y="2178447"/>
                </a:lnTo>
                <a:lnTo>
                  <a:pt x="1857392" y="2350353"/>
                </a:lnTo>
                <a:lnTo>
                  <a:pt x="1496167" y="2631081"/>
                </a:lnTo>
                <a:lnTo>
                  <a:pt x="1496167" y="2284114"/>
                </a:lnTo>
                <a:lnTo>
                  <a:pt x="1666526" y="2152424"/>
                </a:lnTo>
                <a:lnTo>
                  <a:pt x="1658639" y="2141384"/>
                </a:lnTo>
                <a:lnTo>
                  <a:pt x="1666526" y="2151636"/>
                </a:lnTo>
                <a:lnTo>
                  <a:pt x="1857392" y="2003386"/>
                </a:lnTo>
                <a:lnTo>
                  <a:pt x="1857392" y="2177658"/>
                </a:lnTo>
                <a:lnTo>
                  <a:pt x="1870800" y="2176081"/>
                </a:lnTo>
                <a:lnTo>
                  <a:pt x="1870800" y="1998654"/>
                </a:lnTo>
                <a:lnTo>
                  <a:pt x="1886574" y="1986037"/>
                </a:lnTo>
                <a:lnTo>
                  <a:pt x="1886574" y="1969478"/>
                </a:lnTo>
                <a:lnTo>
                  <a:pt x="1869222" y="1982883"/>
                </a:lnTo>
                <a:lnTo>
                  <a:pt x="1869222" y="1636704"/>
                </a:lnTo>
                <a:lnTo>
                  <a:pt x="1886574" y="1623299"/>
                </a:lnTo>
                <a:lnTo>
                  <a:pt x="1886574" y="1606739"/>
                </a:lnTo>
                <a:lnTo>
                  <a:pt x="1862124" y="1625665"/>
                </a:lnTo>
                <a:lnTo>
                  <a:pt x="1496955" y="1348091"/>
                </a:lnTo>
                <a:lnTo>
                  <a:pt x="1861335" y="1064997"/>
                </a:lnTo>
                <a:lnTo>
                  <a:pt x="2226503" y="1342571"/>
                </a:lnTo>
                <a:lnTo>
                  <a:pt x="1887362" y="1605951"/>
                </a:lnTo>
                <a:lnTo>
                  <a:pt x="1887362" y="1622510"/>
                </a:lnTo>
                <a:lnTo>
                  <a:pt x="2231236" y="1355976"/>
                </a:lnTo>
                <a:lnTo>
                  <a:pt x="2231236" y="1702944"/>
                </a:lnTo>
                <a:lnTo>
                  <a:pt x="1887362" y="1968689"/>
                </a:lnTo>
                <a:lnTo>
                  <a:pt x="1887362" y="1985249"/>
                </a:lnTo>
                <a:lnTo>
                  <a:pt x="2243855" y="1709252"/>
                </a:lnTo>
                <a:lnTo>
                  <a:pt x="2243855" y="1339416"/>
                </a:lnTo>
                <a:lnTo>
                  <a:pt x="1870800" y="1056323"/>
                </a:lnTo>
                <a:lnTo>
                  <a:pt x="1870800" y="707778"/>
                </a:lnTo>
                <a:lnTo>
                  <a:pt x="1857392" y="718030"/>
                </a:lnTo>
                <a:lnTo>
                  <a:pt x="1857392" y="1050803"/>
                </a:lnTo>
                <a:lnTo>
                  <a:pt x="1496167" y="1331531"/>
                </a:lnTo>
                <a:lnTo>
                  <a:pt x="1496167" y="985352"/>
                </a:lnTo>
                <a:lnTo>
                  <a:pt x="1857392" y="704624"/>
                </a:lnTo>
                <a:lnTo>
                  <a:pt x="1857392" y="717241"/>
                </a:lnTo>
                <a:lnTo>
                  <a:pt x="1870800" y="706990"/>
                </a:lnTo>
                <a:lnTo>
                  <a:pt x="1870800" y="688064"/>
                </a:lnTo>
                <a:lnTo>
                  <a:pt x="1509574" y="412856"/>
                </a:lnTo>
                <a:lnTo>
                  <a:pt x="1498533" y="421530"/>
                </a:lnTo>
                <a:lnTo>
                  <a:pt x="1508786" y="412856"/>
                </a:lnTo>
                <a:lnTo>
                  <a:pt x="1493012" y="401028"/>
                </a:lnTo>
                <a:lnTo>
                  <a:pt x="1493012" y="119417"/>
                </a:lnTo>
                <a:lnTo>
                  <a:pt x="1493012" y="117464"/>
                </a:lnTo>
                <a:close/>
                <a:moveTo>
                  <a:pt x="1398859" y="117464"/>
                </a:moveTo>
                <a:lnTo>
                  <a:pt x="1480393" y="117464"/>
                </a:lnTo>
                <a:lnTo>
                  <a:pt x="1480393" y="201868"/>
                </a:lnTo>
                <a:lnTo>
                  <a:pt x="1480393" y="401028"/>
                </a:lnTo>
                <a:lnTo>
                  <a:pt x="1118379" y="681756"/>
                </a:lnTo>
                <a:lnTo>
                  <a:pt x="1118379" y="335577"/>
                </a:lnTo>
                <a:lnTo>
                  <a:pt x="1379242" y="132719"/>
                </a:lnTo>
                <a:lnTo>
                  <a:pt x="1398859" y="117464"/>
                </a:lnTo>
                <a:close/>
                <a:moveTo>
                  <a:pt x="840168" y="117464"/>
                </a:moveTo>
                <a:lnTo>
                  <a:pt x="1377550" y="117464"/>
                </a:lnTo>
                <a:lnTo>
                  <a:pt x="1301753" y="176360"/>
                </a:lnTo>
                <a:lnTo>
                  <a:pt x="1112069" y="323748"/>
                </a:lnTo>
                <a:lnTo>
                  <a:pt x="857417" y="130551"/>
                </a:lnTo>
                <a:lnTo>
                  <a:pt x="840168" y="117464"/>
                </a:lnTo>
                <a:close/>
              </a:path>
            </a:pathLst>
          </a:custGeom>
          <a:solidFill>
            <a:schemeClr val="bg1">
              <a:lumMod val="65000"/>
            </a:schemeClr>
          </a:solidFill>
        </p:spPr>
        <p:txBody>
          <a:bodyPr wrap="square" tIns="540000" rIns="540000">
            <a:noAutofit/>
          </a:bodyPr>
          <a:lstStyle>
            <a:lvl1pPr algn="r">
              <a:defRPr>
                <a:solidFill>
                  <a:schemeClr val="accent2">
                    <a:lumMod val="40000"/>
                    <a:lumOff val="60000"/>
                  </a:schemeClr>
                </a:solidFill>
              </a:defRPr>
            </a:lvl1pPr>
          </a:lstStyle>
          <a:p>
            <a:r>
              <a:rPr lang="fr-FR" dirty="0"/>
              <a:t>Insérez ou glissez votre image ici</a:t>
            </a:r>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haut + contenu</a:t>
            </a:r>
          </a:p>
          <a:p>
            <a:endParaRPr lang="fr-FR" sz="900" dirty="0">
              <a:solidFill>
                <a:schemeClr val="bg1">
                  <a:lumMod val="50000"/>
                </a:schemeClr>
              </a:solidFill>
            </a:endParaRPr>
          </a:p>
        </p:txBody>
      </p:sp>
      <p:sp>
        <p:nvSpPr>
          <p:cNvPr id="11" name="Espace réservé du contenu 2">
            <a:extLst>
              <a:ext uri="{FF2B5EF4-FFF2-40B4-BE49-F238E27FC236}">
                <a16:creationId xmlns:a16="http://schemas.microsoft.com/office/drawing/2014/main" id="{9BDF78EF-B925-4A77-F088-A8970BDC4FE9}"/>
              </a:ext>
            </a:extLst>
          </p:cNvPr>
          <p:cNvSpPr>
            <a:spLocks noGrp="1"/>
          </p:cNvSpPr>
          <p:nvPr>
            <p:ph idx="1"/>
          </p:nvPr>
        </p:nvSpPr>
        <p:spPr>
          <a:xfrm>
            <a:off x="548879" y="2536372"/>
            <a:ext cx="8127206" cy="189870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21" name="ZoneTexte 20">
            <a:extLst>
              <a:ext uri="{FF2B5EF4-FFF2-40B4-BE49-F238E27FC236}">
                <a16:creationId xmlns:a16="http://schemas.microsoft.com/office/drawing/2014/main" id="{46C622DF-824A-7030-FF06-98A537DB20A5}"/>
              </a:ext>
            </a:extLst>
          </p:cNvPr>
          <p:cNvSpPr txBox="1"/>
          <p:nvPr userDrawn="1"/>
        </p:nvSpPr>
        <p:spPr>
          <a:xfrm>
            <a:off x="-76200" y="5143501"/>
            <a:ext cx="9144000" cy="507831"/>
          </a:xfrm>
          <a:prstGeom prst="rect">
            <a:avLst/>
          </a:prstGeom>
          <a:noFill/>
        </p:spPr>
        <p:txBody>
          <a:bodyPr wrap="square" rtlCol="0">
            <a:spAutoFit/>
          </a:bodyPr>
          <a:lstStyle/>
          <a:p>
            <a:r>
              <a:rPr lang="fr-FR" sz="900" dirty="0">
                <a:solidFill>
                  <a:schemeClr val="bg1">
                    <a:lumMod val="50000"/>
                  </a:schemeClr>
                </a:solidFill>
              </a:rPr>
              <a:t>Astuce :Après avoir insérez votre image, placez celle-ci en arrière plan : Clic droit + « Arrière plan »</a:t>
            </a:r>
          </a:p>
          <a:p>
            <a:pPr marL="0" marR="0" lvl="0" indent="0" algn="l" defTabSz="685800" rtl="0" eaLnBrk="1" fontAlgn="auto" latinLnBrk="0" hangingPunct="1">
              <a:lnSpc>
                <a:spcPct val="100000"/>
              </a:lnSpc>
              <a:spcBef>
                <a:spcPts val="0"/>
              </a:spcBef>
              <a:spcAft>
                <a:spcPts val="0"/>
              </a:spcAft>
              <a:buClrTx/>
              <a:buSzTx/>
              <a:buFontTx/>
              <a:buNone/>
              <a:tabLst/>
              <a:defRPr/>
            </a:pPr>
            <a:r>
              <a:rPr lang="fr-FR" sz="900" dirty="0">
                <a:solidFill>
                  <a:schemeClr val="bg1">
                    <a:lumMod val="50000"/>
                  </a:schemeClr>
                </a:solidFill>
              </a:rPr>
              <a:t>Astuce :Après avoir insérez votre image, adaptez si besoin la couleur du texte en fonction de celle-ci</a:t>
            </a:r>
          </a:p>
          <a:p>
            <a:endParaRPr lang="fr-FR" sz="900" dirty="0">
              <a:solidFill>
                <a:schemeClr val="bg1">
                  <a:lumMod val="50000"/>
                </a:schemeClr>
              </a:solidFill>
            </a:endParaRPr>
          </a:p>
        </p:txBody>
      </p:sp>
      <p:sp>
        <p:nvSpPr>
          <p:cNvPr id="10" name="Titre 1">
            <a:extLst>
              <a:ext uri="{FF2B5EF4-FFF2-40B4-BE49-F238E27FC236}">
                <a16:creationId xmlns:a16="http://schemas.microsoft.com/office/drawing/2014/main" id="{285252E3-9176-AD7B-44E7-02A49D473FFA}"/>
              </a:ext>
            </a:extLst>
          </p:cNvPr>
          <p:cNvSpPr>
            <a:spLocks noGrp="1"/>
          </p:cNvSpPr>
          <p:nvPr>
            <p:ph type="title"/>
          </p:nvPr>
        </p:nvSpPr>
        <p:spPr>
          <a:xfrm>
            <a:off x="548879" y="239486"/>
            <a:ext cx="8046244" cy="813197"/>
          </a:xfrm>
        </p:spPr>
        <p:txBody>
          <a:bodyPr/>
          <a:lstStyle>
            <a:lvl1pPr>
              <a:defRPr>
                <a:solidFill>
                  <a:schemeClr val="bg1"/>
                </a:solidFill>
              </a:defRPr>
            </a:lvl1pPr>
          </a:lstStyle>
          <a:p>
            <a:r>
              <a:rPr lang="fr-FR"/>
              <a:t>Modifiez le style du titre</a:t>
            </a:r>
            <a:endParaRPr lang="fr-FR" dirty="0"/>
          </a:p>
        </p:txBody>
      </p:sp>
      <p:sp>
        <p:nvSpPr>
          <p:cNvPr id="12"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18928769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isuel  Bas+ contenu">
    <p:spTree>
      <p:nvGrpSpPr>
        <p:cNvPr id="1" name=""/>
        <p:cNvGrpSpPr/>
        <p:nvPr/>
      </p:nvGrpSpPr>
      <p:grpSpPr>
        <a:xfrm>
          <a:off x="0" y="0"/>
          <a:ext cx="0" cy="0"/>
          <a:chOff x="0" y="0"/>
          <a:chExt cx="0" cy="0"/>
        </a:xfrm>
      </p:grpSpPr>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Bas+ contenu</a:t>
            </a:r>
          </a:p>
          <a:p>
            <a:endParaRPr lang="fr-FR" sz="900" dirty="0">
              <a:solidFill>
                <a:schemeClr val="bg1">
                  <a:lumMod val="50000"/>
                </a:schemeClr>
              </a:solidFill>
            </a:endParaRPr>
          </a:p>
        </p:txBody>
      </p:sp>
      <p:sp>
        <p:nvSpPr>
          <p:cNvPr id="10" name="Espace réservé du contenu 2">
            <a:extLst>
              <a:ext uri="{FF2B5EF4-FFF2-40B4-BE49-F238E27FC236}">
                <a16:creationId xmlns:a16="http://schemas.microsoft.com/office/drawing/2014/main" id="{96CEC976-242A-291F-5C18-817BBE12E980}"/>
              </a:ext>
            </a:extLst>
          </p:cNvPr>
          <p:cNvSpPr>
            <a:spLocks noGrp="1"/>
          </p:cNvSpPr>
          <p:nvPr>
            <p:ph idx="1"/>
          </p:nvPr>
        </p:nvSpPr>
        <p:spPr>
          <a:xfrm>
            <a:off x="536735" y="1035844"/>
            <a:ext cx="8058388" cy="1554956"/>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29" name="ZoneTexte 28">
            <a:extLst>
              <a:ext uri="{FF2B5EF4-FFF2-40B4-BE49-F238E27FC236}">
                <a16:creationId xmlns:a16="http://schemas.microsoft.com/office/drawing/2014/main" id="{E462F4B3-C673-4762-4C2C-2CE0330E60F9}"/>
              </a:ext>
            </a:extLst>
          </p:cNvPr>
          <p:cNvSpPr txBox="1"/>
          <p:nvPr userDrawn="1"/>
        </p:nvSpPr>
        <p:spPr>
          <a:xfrm>
            <a:off x="-76200" y="5143500"/>
            <a:ext cx="9144000" cy="230832"/>
          </a:xfrm>
          <a:prstGeom prst="rect">
            <a:avLst/>
          </a:prstGeom>
          <a:noFill/>
        </p:spPr>
        <p:txBody>
          <a:bodyPr wrap="square" rtlCol="0">
            <a:spAutoFit/>
          </a:bodyPr>
          <a:lstStyle/>
          <a:p>
            <a:r>
              <a:rPr lang="fr-FR" sz="900" dirty="0">
                <a:solidFill>
                  <a:schemeClr val="bg1">
                    <a:lumMod val="50000"/>
                  </a:schemeClr>
                </a:solidFill>
              </a:rPr>
              <a:t>Astuce :Après avoir insérez votre image, placez celle-ci en arrière plan : Clic droit + « Arrière plan »</a:t>
            </a:r>
          </a:p>
        </p:txBody>
      </p:sp>
      <p:sp>
        <p:nvSpPr>
          <p:cNvPr id="9" name="Espace réservé pour une image  28">
            <a:extLst>
              <a:ext uri="{FF2B5EF4-FFF2-40B4-BE49-F238E27FC236}">
                <a16:creationId xmlns:a16="http://schemas.microsoft.com/office/drawing/2014/main" id="{DCB96DEF-5249-666B-576F-70AC92D06638}"/>
              </a:ext>
            </a:extLst>
          </p:cNvPr>
          <p:cNvSpPr>
            <a:spLocks noGrp="1"/>
          </p:cNvSpPr>
          <p:nvPr>
            <p:ph type="pic" sz="quarter" idx="13" hasCustomPrompt="1"/>
          </p:nvPr>
        </p:nvSpPr>
        <p:spPr>
          <a:xfrm>
            <a:off x="375148" y="2867891"/>
            <a:ext cx="8824270" cy="1767749"/>
          </a:xfrm>
          <a:custGeom>
            <a:avLst/>
            <a:gdLst>
              <a:gd name="connsiteX0" fmla="*/ 738225 w 5957423"/>
              <a:gd name="connsiteY0" fmla="*/ 6793932 h 6858000"/>
              <a:gd name="connsiteX1" fmla="*/ 814828 w 5957423"/>
              <a:gd name="connsiteY1" fmla="*/ 6852286 h 6858000"/>
              <a:gd name="connsiteX2" fmla="*/ 822329 w 5957423"/>
              <a:gd name="connsiteY2" fmla="*/ 6858000 h 6858000"/>
              <a:gd name="connsiteX3" fmla="*/ 655724 w 5957423"/>
              <a:gd name="connsiteY3" fmla="*/ 6858000 h 6858000"/>
              <a:gd name="connsiteX4" fmla="*/ 656989 w 5957423"/>
              <a:gd name="connsiteY4" fmla="*/ 6857017 h 6858000"/>
              <a:gd name="connsiteX5" fmla="*/ 738225 w 5957423"/>
              <a:gd name="connsiteY5" fmla="*/ 6793932 h 6858000"/>
              <a:gd name="connsiteX6" fmla="*/ 733493 w 5957423"/>
              <a:gd name="connsiteY6" fmla="*/ 6434348 h 6858000"/>
              <a:gd name="connsiteX7" fmla="*/ 733493 w 5957423"/>
              <a:gd name="connsiteY7" fmla="*/ 6780527 h 6858000"/>
              <a:gd name="connsiteX8" fmla="*/ 639637 w 5957423"/>
              <a:gd name="connsiteY8" fmla="*/ 6853075 h 6858000"/>
              <a:gd name="connsiteX9" fmla="*/ 656989 w 5957423"/>
              <a:gd name="connsiteY9" fmla="*/ 6857017 h 6858000"/>
              <a:gd name="connsiteX10" fmla="*/ 638848 w 5957423"/>
              <a:gd name="connsiteY10" fmla="*/ 6853863 h 6858000"/>
              <a:gd name="connsiteX11" fmla="*/ 633515 w 5957423"/>
              <a:gd name="connsiteY11" fmla="*/ 6858000 h 6858000"/>
              <a:gd name="connsiteX12" fmla="*/ 371479 w 5957423"/>
              <a:gd name="connsiteY12" fmla="*/ 6858000 h 6858000"/>
              <a:gd name="connsiteX13" fmla="*/ 371479 w 5957423"/>
              <a:gd name="connsiteY13" fmla="*/ 6799592 h 6858000"/>
              <a:gd name="connsiteX14" fmla="*/ 371479 w 5957423"/>
              <a:gd name="connsiteY14" fmla="*/ 6715076 h 6858000"/>
              <a:gd name="connsiteX15" fmla="*/ 733493 w 5957423"/>
              <a:gd name="connsiteY15" fmla="*/ 6434348 h 6858000"/>
              <a:gd name="connsiteX16" fmla="*/ 1106548 w 5957423"/>
              <a:gd name="connsiteY16" fmla="*/ 5786939 h 6858000"/>
              <a:gd name="connsiteX17" fmla="*/ 1106548 w 5957423"/>
              <a:gd name="connsiteY17" fmla="*/ 6133906 h 6858000"/>
              <a:gd name="connsiteX18" fmla="*/ 1012693 w 5957423"/>
              <a:gd name="connsiteY18" fmla="*/ 6206454 h 6858000"/>
              <a:gd name="connsiteX19" fmla="*/ 744534 w 5957423"/>
              <a:gd name="connsiteY19" fmla="*/ 6413845 h 6858000"/>
              <a:gd name="connsiteX20" fmla="*/ 744534 w 5957423"/>
              <a:gd name="connsiteY20" fmla="*/ 6067667 h 6858000"/>
              <a:gd name="connsiteX21" fmla="*/ 873093 w 5957423"/>
              <a:gd name="connsiteY21" fmla="*/ 5968308 h 6858000"/>
              <a:gd name="connsiteX22" fmla="*/ 1106548 w 5957423"/>
              <a:gd name="connsiteY22" fmla="*/ 5786939 h 6858000"/>
              <a:gd name="connsiteX23" fmla="*/ 1739875 w 5957423"/>
              <a:gd name="connsiteY23" fmla="*/ 5671020 h 6858000"/>
              <a:gd name="connsiteX24" fmla="*/ 1726467 w 5957423"/>
              <a:gd name="connsiteY24" fmla="*/ 5677328 h 6858000"/>
              <a:gd name="connsiteX25" fmla="*/ 1739875 w 5957423"/>
              <a:gd name="connsiteY25" fmla="*/ 5671020 h 6858000"/>
              <a:gd name="connsiteX26" fmla="*/ 1488280 w 5957423"/>
              <a:gd name="connsiteY26" fmla="*/ 5495959 h 6858000"/>
              <a:gd name="connsiteX27" fmla="*/ 1726467 w 5957423"/>
              <a:gd name="connsiteY27" fmla="*/ 5677328 h 6858000"/>
              <a:gd name="connsiteX28" fmla="*/ 1853448 w 5957423"/>
              <a:gd name="connsiteY28" fmla="*/ 5773533 h 6858000"/>
              <a:gd name="connsiteX29" fmla="*/ 1489068 w 5957423"/>
              <a:gd name="connsiteY29" fmla="*/ 6056627 h 6858000"/>
              <a:gd name="connsiteX30" fmla="*/ 1123900 w 5957423"/>
              <a:gd name="connsiteY30" fmla="*/ 5779053 h 6858000"/>
              <a:gd name="connsiteX31" fmla="*/ 1488280 w 5957423"/>
              <a:gd name="connsiteY31" fmla="*/ 5495959 h 6858000"/>
              <a:gd name="connsiteX32" fmla="*/ 359648 w 5957423"/>
              <a:gd name="connsiteY32" fmla="*/ 4847761 h 6858000"/>
              <a:gd name="connsiteX33" fmla="*/ 724817 w 5957423"/>
              <a:gd name="connsiteY33" fmla="*/ 5125335 h 6858000"/>
              <a:gd name="connsiteX34" fmla="*/ 487418 w 5957423"/>
              <a:gd name="connsiteY34" fmla="*/ 5309070 h 6858000"/>
              <a:gd name="connsiteX35" fmla="*/ 493727 w 5957423"/>
              <a:gd name="connsiteY35" fmla="*/ 5320110 h 6858000"/>
              <a:gd name="connsiteX36" fmla="*/ 733493 w 5957423"/>
              <a:gd name="connsiteY36" fmla="*/ 5134798 h 6858000"/>
              <a:gd name="connsiteX37" fmla="*/ 733493 w 5957423"/>
              <a:gd name="connsiteY37" fmla="*/ 5480976 h 6858000"/>
              <a:gd name="connsiteX38" fmla="*/ 633328 w 5957423"/>
              <a:gd name="connsiteY38" fmla="*/ 5558256 h 6858000"/>
              <a:gd name="connsiteX39" fmla="*/ 641215 w 5957423"/>
              <a:gd name="connsiteY39" fmla="*/ 5570873 h 6858000"/>
              <a:gd name="connsiteX40" fmla="*/ 737436 w 5957423"/>
              <a:gd name="connsiteY40" fmla="*/ 5495959 h 6858000"/>
              <a:gd name="connsiteX41" fmla="*/ 1102605 w 5957423"/>
              <a:gd name="connsiteY41" fmla="*/ 5773533 h 6858000"/>
              <a:gd name="connsiteX42" fmla="*/ 866783 w 5957423"/>
              <a:gd name="connsiteY42" fmla="*/ 5956479 h 6858000"/>
              <a:gd name="connsiteX43" fmla="*/ 873093 w 5957423"/>
              <a:gd name="connsiteY43" fmla="*/ 5968308 h 6858000"/>
              <a:gd name="connsiteX44" fmla="*/ 865994 w 5957423"/>
              <a:gd name="connsiteY44" fmla="*/ 5957268 h 6858000"/>
              <a:gd name="connsiteX45" fmla="*/ 738225 w 5957423"/>
              <a:gd name="connsiteY45" fmla="*/ 6056627 h 6858000"/>
              <a:gd name="connsiteX46" fmla="*/ 373056 w 5957423"/>
              <a:gd name="connsiteY46" fmla="*/ 5779053 h 6858000"/>
              <a:gd name="connsiteX47" fmla="*/ 640426 w 5957423"/>
              <a:gd name="connsiteY47" fmla="*/ 5571661 h 6858000"/>
              <a:gd name="connsiteX48" fmla="*/ 633328 w 5957423"/>
              <a:gd name="connsiteY48" fmla="*/ 5559044 h 6858000"/>
              <a:gd name="connsiteX49" fmla="*/ 371479 w 5957423"/>
              <a:gd name="connsiteY49" fmla="*/ 5761705 h 6858000"/>
              <a:gd name="connsiteX50" fmla="*/ 371479 w 5957423"/>
              <a:gd name="connsiteY50" fmla="*/ 5415526 h 6858000"/>
              <a:gd name="connsiteX51" fmla="*/ 493727 w 5957423"/>
              <a:gd name="connsiteY51" fmla="*/ 5320898 h 6858000"/>
              <a:gd name="connsiteX52" fmla="*/ 486629 w 5957423"/>
              <a:gd name="connsiteY52" fmla="*/ 5309070 h 6858000"/>
              <a:gd name="connsiteX53" fmla="*/ 365169 w 5957423"/>
              <a:gd name="connsiteY53" fmla="*/ 5403697 h 6858000"/>
              <a:gd name="connsiteX54" fmla="*/ 0 w 5957423"/>
              <a:gd name="connsiteY54" fmla="*/ 5126124 h 6858000"/>
              <a:gd name="connsiteX55" fmla="*/ 359648 w 5957423"/>
              <a:gd name="connsiteY55" fmla="*/ 4847761 h 6858000"/>
              <a:gd name="connsiteX56" fmla="*/ 1106548 w 5957423"/>
              <a:gd name="connsiteY56" fmla="*/ 4487388 h 6858000"/>
              <a:gd name="connsiteX57" fmla="*/ 1106548 w 5957423"/>
              <a:gd name="connsiteY57" fmla="*/ 4833567 h 6858000"/>
              <a:gd name="connsiteX58" fmla="*/ 1018214 w 5957423"/>
              <a:gd name="connsiteY58" fmla="*/ 4902172 h 6858000"/>
              <a:gd name="connsiteX59" fmla="*/ 1025312 w 5957423"/>
              <a:gd name="connsiteY59" fmla="*/ 4913212 h 6858000"/>
              <a:gd name="connsiteX60" fmla="*/ 1017425 w 5957423"/>
              <a:gd name="connsiteY60" fmla="*/ 4902960 h 6858000"/>
              <a:gd name="connsiteX61" fmla="*/ 744534 w 5957423"/>
              <a:gd name="connsiteY61" fmla="*/ 5114295 h 6858000"/>
              <a:gd name="connsiteX62" fmla="*/ 744534 w 5957423"/>
              <a:gd name="connsiteY62" fmla="*/ 4768116 h 6858000"/>
              <a:gd name="connsiteX63" fmla="*/ 856530 w 5957423"/>
              <a:gd name="connsiteY63" fmla="*/ 4680586 h 6858000"/>
              <a:gd name="connsiteX64" fmla="*/ 849432 w 5957423"/>
              <a:gd name="connsiteY64" fmla="*/ 4670335 h 6858000"/>
              <a:gd name="connsiteX65" fmla="*/ 857319 w 5957423"/>
              <a:gd name="connsiteY65" fmla="*/ 4680586 h 6858000"/>
              <a:gd name="connsiteX66" fmla="*/ 1106548 w 5957423"/>
              <a:gd name="connsiteY66" fmla="*/ 4487388 h 6858000"/>
              <a:gd name="connsiteX67" fmla="*/ 737436 w 5957423"/>
              <a:gd name="connsiteY67" fmla="*/ 4196409 h 6858000"/>
              <a:gd name="connsiteX68" fmla="*/ 1102605 w 5957423"/>
              <a:gd name="connsiteY68" fmla="*/ 4473983 h 6858000"/>
              <a:gd name="connsiteX69" fmla="*/ 849432 w 5957423"/>
              <a:gd name="connsiteY69" fmla="*/ 4670335 h 6858000"/>
              <a:gd name="connsiteX70" fmla="*/ 738225 w 5957423"/>
              <a:gd name="connsiteY70" fmla="*/ 4756288 h 6858000"/>
              <a:gd name="connsiteX71" fmla="*/ 373056 w 5957423"/>
              <a:gd name="connsiteY71" fmla="*/ 4478714 h 6858000"/>
              <a:gd name="connsiteX72" fmla="*/ 737436 w 5957423"/>
              <a:gd name="connsiteY72" fmla="*/ 4196409 h 6858000"/>
              <a:gd name="connsiteX73" fmla="*/ 1115224 w 5957423"/>
              <a:gd name="connsiteY73" fmla="*/ 3544268 h 6858000"/>
              <a:gd name="connsiteX74" fmla="*/ 1125477 w 5957423"/>
              <a:gd name="connsiteY74" fmla="*/ 3552154 h 6858000"/>
              <a:gd name="connsiteX75" fmla="*/ 1480393 w 5957423"/>
              <a:gd name="connsiteY75" fmla="*/ 3821842 h 6858000"/>
              <a:gd name="connsiteX76" fmla="*/ 1116013 w 5957423"/>
              <a:gd name="connsiteY76" fmla="*/ 4104935 h 6858000"/>
              <a:gd name="connsiteX77" fmla="*/ 750844 w 5957423"/>
              <a:gd name="connsiteY77" fmla="*/ 3826573 h 6858000"/>
              <a:gd name="connsiteX78" fmla="*/ 1115224 w 5957423"/>
              <a:gd name="connsiteY78" fmla="*/ 3544268 h 6858000"/>
              <a:gd name="connsiteX79" fmla="*/ 1480393 w 5957423"/>
              <a:gd name="connsiteY79" fmla="*/ 2538851 h 6858000"/>
              <a:gd name="connsiteX80" fmla="*/ 1480393 w 5957423"/>
              <a:gd name="connsiteY80" fmla="*/ 2885030 h 6858000"/>
              <a:gd name="connsiteX81" fmla="*/ 1386537 w 5957423"/>
              <a:gd name="connsiteY81" fmla="*/ 2957578 h 6858000"/>
              <a:gd name="connsiteX82" fmla="*/ 1392847 w 5957423"/>
              <a:gd name="connsiteY82" fmla="*/ 2969406 h 6858000"/>
              <a:gd name="connsiteX83" fmla="*/ 1385748 w 5957423"/>
              <a:gd name="connsiteY83" fmla="*/ 2958366 h 6858000"/>
              <a:gd name="connsiteX84" fmla="*/ 1118379 w 5957423"/>
              <a:gd name="connsiteY84" fmla="*/ 3165758 h 6858000"/>
              <a:gd name="connsiteX85" fmla="*/ 1118379 w 5957423"/>
              <a:gd name="connsiteY85" fmla="*/ 2819579 h 6858000"/>
              <a:gd name="connsiteX86" fmla="*/ 1246148 w 5957423"/>
              <a:gd name="connsiteY86" fmla="*/ 2720221 h 6858000"/>
              <a:gd name="connsiteX87" fmla="*/ 1239839 w 5957423"/>
              <a:gd name="connsiteY87" fmla="*/ 2708392 h 6858000"/>
              <a:gd name="connsiteX88" fmla="*/ 1246937 w 5957423"/>
              <a:gd name="connsiteY88" fmla="*/ 2719432 h 6858000"/>
              <a:gd name="connsiteX89" fmla="*/ 1480393 w 5957423"/>
              <a:gd name="connsiteY89" fmla="*/ 2538851 h 6858000"/>
              <a:gd name="connsiteX90" fmla="*/ 732704 w 5957423"/>
              <a:gd name="connsiteY90" fmla="*/ 1598885 h 6858000"/>
              <a:gd name="connsiteX91" fmla="*/ 1097873 w 5957423"/>
              <a:gd name="connsiteY91" fmla="*/ 1876459 h 6858000"/>
              <a:gd name="connsiteX92" fmla="*/ 860473 w 5957423"/>
              <a:gd name="connsiteY92" fmla="*/ 2060194 h 6858000"/>
              <a:gd name="connsiteX93" fmla="*/ 867572 w 5957423"/>
              <a:gd name="connsiteY93" fmla="*/ 2072022 h 6858000"/>
              <a:gd name="connsiteX94" fmla="*/ 1106548 w 5957423"/>
              <a:gd name="connsiteY94" fmla="*/ 1885922 h 6858000"/>
              <a:gd name="connsiteX95" fmla="*/ 1106548 w 5957423"/>
              <a:gd name="connsiteY95" fmla="*/ 2232889 h 6858000"/>
              <a:gd name="connsiteX96" fmla="*/ 1007172 w 5957423"/>
              <a:gd name="connsiteY96" fmla="*/ 2310168 h 6858000"/>
              <a:gd name="connsiteX97" fmla="*/ 1014270 w 5957423"/>
              <a:gd name="connsiteY97" fmla="*/ 2322785 h 6858000"/>
              <a:gd name="connsiteX98" fmla="*/ 1110492 w 5957423"/>
              <a:gd name="connsiteY98" fmla="*/ 2247872 h 6858000"/>
              <a:gd name="connsiteX99" fmla="*/ 1475660 w 5957423"/>
              <a:gd name="connsiteY99" fmla="*/ 2525446 h 6858000"/>
              <a:gd name="connsiteX100" fmla="*/ 1239839 w 5957423"/>
              <a:gd name="connsiteY100" fmla="*/ 2708392 h 6858000"/>
              <a:gd name="connsiteX101" fmla="*/ 1112069 w 5957423"/>
              <a:gd name="connsiteY101" fmla="*/ 2807751 h 6858000"/>
              <a:gd name="connsiteX102" fmla="*/ 746900 w 5957423"/>
              <a:gd name="connsiteY102" fmla="*/ 2530177 h 6858000"/>
              <a:gd name="connsiteX103" fmla="*/ 1013481 w 5957423"/>
              <a:gd name="connsiteY103" fmla="*/ 2322785 h 6858000"/>
              <a:gd name="connsiteX104" fmla="*/ 1006383 w 5957423"/>
              <a:gd name="connsiteY104" fmla="*/ 2310168 h 6858000"/>
              <a:gd name="connsiteX105" fmla="*/ 744534 w 5957423"/>
              <a:gd name="connsiteY105" fmla="*/ 2513617 h 6858000"/>
              <a:gd name="connsiteX106" fmla="*/ 744534 w 5957423"/>
              <a:gd name="connsiteY106" fmla="*/ 2166650 h 6858000"/>
              <a:gd name="connsiteX107" fmla="*/ 866783 w 5957423"/>
              <a:gd name="connsiteY107" fmla="*/ 2072022 h 6858000"/>
              <a:gd name="connsiteX108" fmla="*/ 860473 w 5957423"/>
              <a:gd name="connsiteY108" fmla="*/ 2060983 h 6858000"/>
              <a:gd name="connsiteX109" fmla="*/ 738225 w 5957423"/>
              <a:gd name="connsiteY109" fmla="*/ 2155610 h 6858000"/>
              <a:gd name="connsiteX110" fmla="*/ 373056 w 5957423"/>
              <a:gd name="connsiteY110" fmla="*/ 1878036 h 6858000"/>
              <a:gd name="connsiteX111" fmla="*/ 732704 w 5957423"/>
              <a:gd name="connsiteY111" fmla="*/ 1598885 h 6858000"/>
              <a:gd name="connsiteX112" fmla="*/ 1480393 w 5957423"/>
              <a:gd name="connsiteY112" fmla="*/ 1238512 h 6858000"/>
              <a:gd name="connsiteX113" fmla="*/ 1480393 w 5957423"/>
              <a:gd name="connsiteY113" fmla="*/ 1585480 h 6858000"/>
              <a:gd name="connsiteX114" fmla="*/ 1391269 w 5957423"/>
              <a:gd name="connsiteY114" fmla="*/ 1654085 h 6858000"/>
              <a:gd name="connsiteX115" fmla="*/ 1399156 w 5957423"/>
              <a:gd name="connsiteY115" fmla="*/ 1664336 h 6858000"/>
              <a:gd name="connsiteX116" fmla="*/ 1483547 w 5957423"/>
              <a:gd name="connsiteY116" fmla="*/ 1598885 h 6858000"/>
              <a:gd name="connsiteX117" fmla="*/ 1848716 w 5957423"/>
              <a:gd name="connsiteY117" fmla="*/ 1876459 h 6858000"/>
              <a:gd name="connsiteX118" fmla="*/ 1658639 w 5957423"/>
              <a:gd name="connsiteY118" fmla="*/ 2023920 h 6858000"/>
              <a:gd name="connsiteX119" fmla="*/ 1489068 w 5957423"/>
              <a:gd name="connsiteY119" fmla="*/ 2155610 h 6858000"/>
              <a:gd name="connsiteX120" fmla="*/ 1123900 w 5957423"/>
              <a:gd name="connsiteY120" fmla="*/ 1878036 h 6858000"/>
              <a:gd name="connsiteX121" fmla="*/ 1398368 w 5957423"/>
              <a:gd name="connsiteY121" fmla="*/ 1665124 h 6858000"/>
              <a:gd name="connsiteX122" fmla="*/ 1390481 w 5957423"/>
              <a:gd name="connsiteY122" fmla="*/ 1654085 h 6858000"/>
              <a:gd name="connsiteX123" fmla="*/ 1118379 w 5957423"/>
              <a:gd name="connsiteY123" fmla="*/ 1865419 h 6858000"/>
              <a:gd name="connsiteX124" fmla="*/ 1118379 w 5957423"/>
              <a:gd name="connsiteY124" fmla="*/ 1519240 h 6858000"/>
              <a:gd name="connsiteX125" fmla="*/ 1230374 w 5957423"/>
              <a:gd name="connsiteY125" fmla="*/ 1432499 h 6858000"/>
              <a:gd name="connsiteX126" fmla="*/ 1480393 w 5957423"/>
              <a:gd name="connsiteY126" fmla="*/ 1238512 h 6858000"/>
              <a:gd name="connsiteX127" fmla="*/ 1110492 w 5957423"/>
              <a:gd name="connsiteY127" fmla="*/ 947533 h 6858000"/>
              <a:gd name="connsiteX128" fmla="*/ 1475660 w 5957423"/>
              <a:gd name="connsiteY128" fmla="*/ 1225107 h 6858000"/>
              <a:gd name="connsiteX129" fmla="*/ 1223276 w 5957423"/>
              <a:gd name="connsiteY129" fmla="*/ 1421459 h 6858000"/>
              <a:gd name="connsiteX130" fmla="*/ 1230374 w 5957423"/>
              <a:gd name="connsiteY130" fmla="*/ 1432499 h 6858000"/>
              <a:gd name="connsiteX131" fmla="*/ 1222487 w 5957423"/>
              <a:gd name="connsiteY131" fmla="*/ 1422247 h 6858000"/>
              <a:gd name="connsiteX132" fmla="*/ 1112069 w 5957423"/>
              <a:gd name="connsiteY132" fmla="*/ 1508201 h 6858000"/>
              <a:gd name="connsiteX133" fmla="*/ 746900 w 5957423"/>
              <a:gd name="connsiteY133" fmla="*/ 1230627 h 6858000"/>
              <a:gd name="connsiteX134" fmla="*/ 1110492 w 5957423"/>
              <a:gd name="connsiteY134" fmla="*/ 947533 h 6858000"/>
              <a:gd name="connsiteX135" fmla="*/ 1488280 w 5957423"/>
              <a:gd name="connsiteY135" fmla="*/ 296181 h 6858000"/>
              <a:gd name="connsiteX136" fmla="*/ 1498533 w 5957423"/>
              <a:gd name="connsiteY136" fmla="*/ 304066 h 6858000"/>
              <a:gd name="connsiteX137" fmla="*/ 1853448 w 5957423"/>
              <a:gd name="connsiteY137" fmla="*/ 573754 h 6858000"/>
              <a:gd name="connsiteX138" fmla="*/ 1489068 w 5957423"/>
              <a:gd name="connsiteY138" fmla="*/ 856060 h 6858000"/>
              <a:gd name="connsiteX139" fmla="*/ 1123900 w 5957423"/>
              <a:gd name="connsiteY139" fmla="*/ 578486 h 6858000"/>
              <a:gd name="connsiteX140" fmla="*/ 1488280 w 5957423"/>
              <a:gd name="connsiteY140" fmla="*/ 296181 h 6858000"/>
              <a:gd name="connsiteX141" fmla="*/ 1493012 w 5957423"/>
              <a:gd name="connsiteY141" fmla="*/ 0 h 6858000"/>
              <a:gd name="connsiteX142" fmla="*/ 5957423 w 5957423"/>
              <a:gd name="connsiteY142" fmla="*/ 0 h 6858000"/>
              <a:gd name="connsiteX143" fmla="*/ 5957423 w 5957423"/>
              <a:gd name="connsiteY143" fmla="*/ 6858000 h 6858000"/>
              <a:gd name="connsiteX144" fmla="*/ 843615 w 5957423"/>
              <a:gd name="connsiteY144" fmla="*/ 6858000 h 6858000"/>
              <a:gd name="connsiteX145" fmla="*/ 810785 w 5957423"/>
              <a:gd name="connsiteY145" fmla="*/ 6833040 h 6858000"/>
              <a:gd name="connsiteX146" fmla="*/ 746900 w 5957423"/>
              <a:gd name="connsiteY146" fmla="*/ 6784470 h 6858000"/>
              <a:gd name="connsiteX147" fmla="*/ 746900 w 5957423"/>
              <a:gd name="connsiteY147" fmla="*/ 6429617 h 6858000"/>
              <a:gd name="connsiteX148" fmla="*/ 1019002 w 5957423"/>
              <a:gd name="connsiteY148" fmla="*/ 6218282 h 6858000"/>
              <a:gd name="connsiteX149" fmla="*/ 1012693 w 5957423"/>
              <a:gd name="connsiteY149" fmla="*/ 6206454 h 6858000"/>
              <a:gd name="connsiteX150" fmla="*/ 1019791 w 5957423"/>
              <a:gd name="connsiteY150" fmla="*/ 6217493 h 6858000"/>
              <a:gd name="connsiteX151" fmla="*/ 1110492 w 5957423"/>
              <a:gd name="connsiteY151" fmla="*/ 6147311 h 6858000"/>
              <a:gd name="connsiteX152" fmla="*/ 1489068 w 5957423"/>
              <a:gd name="connsiteY152" fmla="*/ 6435925 h 6858000"/>
              <a:gd name="connsiteX153" fmla="*/ 1870800 w 5957423"/>
              <a:gd name="connsiteY153" fmla="*/ 6140214 h 6858000"/>
              <a:gd name="connsiteX154" fmla="*/ 1870800 w 5957423"/>
              <a:gd name="connsiteY154" fmla="*/ 6021930 h 6858000"/>
              <a:gd name="connsiteX155" fmla="*/ 1857392 w 5957423"/>
              <a:gd name="connsiteY155" fmla="*/ 6027450 h 6858000"/>
              <a:gd name="connsiteX156" fmla="*/ 1857392 w 5957423"/>
              <a:gd name="connsiteY156" fmla="*/ 6133906 h 6858000"/>
              <a:gd name="connsiteX157" fmla="*/ 1495378 w 5957423"/>
              <a:gd name="connsiteY157" fmla="*/ 6413845 h 6858000"/>
              <a:gd name="connsiteX158" fmla="*/ 1495378 w 5957423"/>
              <a:gd name="connsiteY158" fmla="*/ 6067667 h 6858000"/>
              <a:gd name="connsiteX159" fmla="*/ 1857392 w 5957423"/>
              <a:gd name="connsiteY159" fmla="*/ 5786939 h 6858000"/>
              <a:gd name="connsiteX160" fmla="*/ 1857392 w 5957423"/>
              <a:gd name="connsiteY160" fmla="*/ 6026661 h 6858000"/>
              <a:gd name="connsiteX161" fmla="*/ 1870800 w 5957423"/>
              <a:gd name="connsiteY161" fmla="*/ 6021141 h 6858000"/>
              <a:gd name="connsiteX162" fmla="*/ 1870800 w 5957423"/>
              <a:gd name="connsiteY162" fmla="*/ 5770379 h 6858000"/>
              <a:gd name="connsiteX163" fmla="*/ 1739875 w 5957423"/>
              <a:gd name="connsiteY163" fmla="*/ 5671020 h 6858000"/>
              <a:gd name="connsiteX164" fmla="*/ 1497744 w 5957423"/>
              <a:gd name="connsiteY164" fmla="*/ 5487285 h 6858000"/>
              <a:gd name="connsiteX165" fmla="*/ 1497744 w 5957423"/>
              <a:gd name="connsiteY165" fmla="*/ 5307493 h 6858000"/>
              <a:gd name="connsiteX166" fmla="*/ 1484336 w 5957423"/>
              <a:gd name="connsiteY166" fmla="*/ 5309858 h 6858000"/>
              <a:gd name="connsiteX167" fmla="*/ 1484336 w 5957423"/>
              <a:gd name="connsiteY167" fmla="*/ 5480976 h 6858000"/>
              <a:gd name="connsiteX168" fmla="*/ 1122322 w 5957423"/>
              <a:gd name="connsiteY168" fmla="*/ 5761705 h 6858000"/>
              <a:gd name="connsiteX169" fmla="*/ 1122322 w 5957423"/>
              <a:gd name="connsiteY169" fmla="*/ 5415526 h 6858000"/>
              <a:gd name="connsiteX170" fmla="*/ 1292682 w 5957423"/>
              <a:gd name="connsiteY170" fmla="*/ 5283047 h 6858000"/>
              <a:gd name="connsiteX171" fmla="*/ 1285583 w 5957423"/>
              <a:gd name="connsiteY171" fmla="*/ 5272796 h 6858000"/>
              <a:gd name="connsiteX172" fmla="*/ 1116013 w 5957423"/>
              <a:gd name="connsiteY172" fmla="*/ 5403697 h 6858000"/>
              <a:gd name="connsiteX173" fmla="*/ 750844 w 5957423"/>
              <a:gd name="connsiteY173" fmla="*/ 5126124 h 6858000"/>
              <a:gd name="connsiteX174" fmla="*/ 1025312 w 5957423"/>
              <a:gd name="connsiteY174" fmla="*/ 4913212 h 6858000"/>
              <a:gd name="connsiteX175" fmla="*/ 1110492 w 5957423"/>
              <a:gd name="connsiteY175" fmla="*/ 4847761 h 6858000"/>
              <a:gd name="connsiteX176" fmla="*/ 1475660 w 5957423"/>
              <a:gd name="connsiteY176" fmla="*/ 5125335 h 6858000"/>
              <a:gd name="connsiteX177" fmla="*/ 1285583 w 5957423"/>
              <a:gd name="connsiteY177" fmla="*/ 5272008 h 6858000"/>
              <a:gd name="connsiteX178" fmla="*/ 1293470 w 5957423"/>
              <a:gd name="connsiteY178" fmla="*/ 5283047 h 6858000"/>
              <a:gd name="connsiteX179" fmla="*/ 1484336 w 5957423"/>
              <a:gd name="connsiteY179" fmla="*/ 5134798 h 6858000"/>
              <a:gd name="connsiteX180" fmla="*/ 1484336 w 5957423"/>
              <a:gd name="connsiteY180" fmla="*/ 5309070 h 6858000"/>
              <a:gd name="connsiteX181" fmla="*/ 1497744 w 5957423"/>
              <a:gd name="connsiteY181" fmla="*/ 5306704 h 6858000"/>
              <a:gd name="connsiteX182" fmla="*/ 1497744 w 5957423"/>
              <a:gd name="connsiteY182" fmla="*/ 5129278 h 6858000"/>
              <a:gd name="connsiteX183" fmla="*/ 1513518 w 5957423"/>
              <a:gd name="connsiteY183" fmla="*/ 5116661 h 6858000"/>
              <a:gd name="connsiteX184" fmla="*/ 1513518 w 5957423"/>
              <a:gd name="connsiteY184" fmla="*/ 5100101 h 6858000"/>
              <a:gd name="connsiteX185" fmla="*/ 1495378 w 5957423"/>
              <a:gd name="connsiteY185" fmla="*/ 5114295 h 6858000"/>
              <a:gd name="connsiteX186" fmla="*/ 1495378 w 5957423"/>
              <a:gd name="connsiteY186" fmla="*/ 4768116 h 6858000"/>
              <a:gd name="connsiteX187" fmla="*/ 1513518 w 5957423"/>
              <a:gd name="connsiteY187" fmla="*/ 4753922 h 6858000"/>
              <a:gd name="connsiteX188" fmla="*/ 1513518 w 5957423"/>
              <a:gd name="connsiteY188" fmla="*/ 4737362 h 6858000"/>
              <a:gd name="connsiteX189" fmla="*/ 1489068 w 5957423"/>
              <a:gd name="connsiteY189" fmla="*/ 4756288 h 6858000"/>
              <a:gd name="connsiteX190" fmla="*/ 1123900 w 5957423"/>
              <a:gd name="connsiteY190" fmla="*/ 4478714 h 6858000"/>
              <a:gd name="connsiteX191" fmla="*/ 1488280 w 5957423"/>
              <a:gd name="connsiteY191" fmla="*/ 4196409 h 6858000"/>
              <a:gd name="connsiteX192" fmla="*/ 1853448 w 5957423"/>
              <a:gd name="connsiteY192" fmla="*/ 4473983 h 6858000"/>
              <a:gd name="connsiteX193" fmla="*/ 1514307 w 5957423"/>
              <a:gd name="connsiteY193" fmla="*/ 4737362 h 6858000"/>
              <a:gd name="connsiteX194" fmla="*/ 1514307 w 5957423"/>
              <a:gd name="connsiteY194" fmla="*/ 4753134 h 6858000"/>
              <a:gd name="connsiteX195" fmla="*/ 1857392 w 5957423"/>
              <a:gd name="connsiteY195" fmla="*/ 4487388 h 6858000"/>
              <a:gd name="connsiteX196" fmla="*/ 1857392 w 5957423"/>
              <a:gd name="connsiteY196" fmla="*/ 4833567 h 6858000"/>
              <a:gd name="connsiteX197" fmla="*/ 1514307 w 5957423"/>
              <a:gd name="connsiteY197" fmla="*/ 5100101 h 6858000"/>
              <a:gd name="connsiteX198" fmla="*/ 1514307 w 5957423"/>
              <a:gd name="connsiteY198" fmla="*/ 5116661 h 6858000"/>
              <a:gd name="connsiteX199" fmla="*/ 1870800 w 5957423"/>
              <a:gd name="connsiteY199" fmla="*/ 4839875 h 6858000"/>
              <a:gd name="connsiteX200" fmla="*/ 1870800 w 5957423"/>
              <a:gd name="connsiteY200" fmla="*/ 4470828 h 6858000"/>
              <a:gd name="connsiteX201" fmla="*/ 1497744 w 5957423"/>
              <a:gd name="connsiteY201" fmla="*/ 4186946 h 6858000"/>
              <a:gd name="connsiteX202" fmla="*/ 1497744 w 5957423"/>
              <a:gd name="connsiteY202" fmla="*/ 3839190 h 6858000"/>
              <a:gd name="connsiteX203" fmla="*/ 1484336 w 5957423"/>
              <a:gd name="connsiteY203" fmla="*/ 3849441 h 6858000"/>
              <a:gd name="connsiteX204" fmla="*/ 1484336 w 5957423"/>
              <a:gd name="connsiteY204" fmla="*/ 4182215 h 6858000"/>
              <a:gd name="connsiteX205" fmla="*/ 1122322 w 5957423"/>
              <a:gd name="connsiteY205" fmla="*/ 4462154 h 6858000"/>
              <a:gd name="connsiteX206" fmla="*/ 1122322 w 5957423"/>
              <a:gd name="connsiteY206" fmla="*/ 4115975 h 6858000"/>
              <a:gd name="connsiteX207" fmla="*/ 1484336 w 5957423"/>
              <a:gd name="connsiteY207" fmla="*/ 3835248 h 6858000"/>
              <a:gd name="connsiteX208" fmla="*/ 1484336 w 5957423"/>
              <a:gd name="connsiteY208" fmla="*/ 3848653 h 6858000"/>
              <a:gd name="connsiteX209" fmla="*/ 1497744 w 5957423"/>
              <a:gd name="connsiteY209" fmla="*/ 3838402 h 6858000"/>
              <a:gd name="connsiteX210" fmla="*/ 1497744 w 5957423"/>
              <a:gd name="connsiteY210" fmla="*/ 3818688 h 6858000"/>
              <a:gd name="connsiteX211" fmla="*/ 1136519 w 5957423"/>
              <a:gd name="connsiteY211" fmla="*/ 3544268 h 6858000"/>
              <a:gd name="connsiteX212" fmla="*/ 1125477 w 5957423"/>
              <a:gd name="connsiteY212" fmla="*/ 3552154 h 6858000"/>
              <a:gd name="connsiteX213" fmla="*/ 1135730 w 5957423"/>
              <a:gd name="connsiteY213" fmla="*/ 3543479 h 6858000"/>
              <a:gd name="connsiteX214" fmla="*/ 1119956 w 5957423"/>
              <a:gd name="connsiteY214" fmla="*/ 3531651 h 6858000"/>
              <a:gd name="connsiteX215" fmla="*/ 1119956 w 5957423"/>
              <a:gd name="connsiteY215" fmla="*/ 3519822 h 6858000"/>
              <a:gd name="connsiteX216" fmla="*/ 1106548 w 5957423"/>
              <a:gd name="connsiteY216" fmla="*/ 3519822 h 6858000"/>
              <a:gd name="connsiteX217" fmla="*/ 1106548 w 5957423"/>
              <a:gd name="connsiteY217" fmla="*/ 3532439 h 6858000"/>
              <a:gd name="connsiteX218" fmla="*/ 744534 w 5957423"/>
              <a:gd name="connsiteY218" fmla="*/ 3812379 h 6858000"/>
              <a:gd name="connsiteX219" fmla="*/ 744534 w 5957423"/>
              <a:gd name="connsiteY219" fmla="*/ 3495377 h 6858000"/>
              <a:gd name="connsiteX220" fmla="*/ 744534 w 5957423"/>
              <a:gd name="connsiteY220" fmla="*/ 3466989 h 6858000"/>
              <a:gd name="connsiteX221" fmla="*/ 1106548 w 5957423"/>
              <a:gd name="connsiteY221" fmla="*/ 3186261 h 6858000"/>
              <a:gd name="connsiteX222" fmla="*/ 1106548 w 5957423"/>
              <a:gd name="connsiteY222" fmla="*/ 3500109 h 6858000"/>
              <a:gd name="connsiteX223" fmla="*/ 1106548 w 5957423"/>
              <a:gd name="connsiteY223" fmla="*/ 3519034 h 6858000"/>
              <a:gd name="connsiteX224" fmla="*/ 1119956 w 5957423"/>
              <a:gd name="connsiteY224" fmla="*/ 3519034 h 6858000"/>
              <a:gd name="connsiteX225" fmla="*/ 1119956 w 5957423"/>
              <a:gd name="connsiteY225" fmla="*/ 3180741 h 6858000"/>
              <a:gd name="connsiteX226" fmla="*/ 1392847 w 5957423"/>
              <a:gd name="connsiteY226" fmla="*/ 2969406 h 6858000"/>
              <a:gd name="connsiteX227" fmla="*/ 1483547 w 5957423"/>
              <a:gd name="connsiteY227" fmla="*/ 2899224 h 6858000"/>
              <a:gd name="connsiteX228" fmla="*/ 1862913 w 5957423"/>
              <a:gd name="connsiteY228" fmla="*/ 3187049 h 6858000"/>
              <a:gd name="connsiteX229" fmla="*/ 2243855 w 5957423"/>
              <a:gd name="connsiteY229" fmla="*/ 2891339 h 6858000"/>
              <a:gd name="connsiteX230" fmla="*/ 2243855 w 5957423"/>
              <a:gd name="connsiteY230" fmla="*/ 2773843 h 6858000"/>
              <a:gd name="connsiteX231" fmla="*/ 2231236 w 5957423"/>
              <a:gd name="connsiteY231" fmla="*/ 2779363 h 6858000"/>
              <a:gd name="connsiteX232" fmla="*/ 2231236 w 5957423"/>
              <a:gd name="connsiteY232" fmla="*/ 2885030 h 6858000"/>
              <a:gd name="connsiteX233" fmla="*/ 1869222 w 5957423"/>
              <a:gd name="connsiteY233" fmla="*/ 3165758 h 6858000"/>
              <a:gd name="connsiteX234" fmla="*/ 1869222 w 5957423"/>
              <a:gd name="connsiteY234" fmla="*/ 2819579 h 6858000"/>
              <a:gd name="connsiteX235" fmla="*/ 2231236 w 5957423"/>
              <a:gd name="connsiteY235" fmla="*/ 2538851 h 6858000"/>
              <a:gd name="connsiteX236" fmla="*/ 2231236 w 5957423"/>
              <a:gd name="connsiteY236" fmla="*/ 2778574 h 6858000"/>
              <a:gd name="connsiteX237" fmla="*/ 2243855 w 5957423"/>
              <a:gd name="connsiteY237" fmla="*/ 2773054 h 6858000"/>
              <a:gd name="connsiteX238" fmla="*/ 2243855 w 5957423"/>
              <a:gd name="connsiteY238" fmla="*/ 2522291 h 6858000"/>
              <a:gd name="connsiteX239" fmla="*/ 2113720 w 5957423"/>
              <a:gd name="connsiteY239" fmla="*/ 2422933 h 6858000"/>
              <a:gd name="connsiteX240" fmla="*/ 2100312 w 5957423"/>
              <a:gd name="connsiteY240" fmla="*/ 2429241 h 6858000"/>
              <a:gd name="connsiteX241" fmla="*/ 2226503 w 5957423"/>
              <a:gd name="connsiteY241" fmla="*/ 2525446 h 6858000"/>
              <a:gd name="connsiteX242" fmla="*/ 1862124 w 5957423"/>
              <a:gd name="connsiteY242" fmla="*/ 2807751 h 6858000"/>
              <a:gd name="connsiteX243" fmla="*/ 1496955 w 5957423"/>
              <a:gd name="connsiteY243" fmla="*/ 2530177 h 6858000"/>
              <a:gd name="connsiteX244" fmla="*/ 1861335 w 5957423"/>
              <a:gd name="connsiteY244" fmla="*/ 2247872 h 6858000"/>
              <a:gd name="connsiteX245" fmla="*/ 2099523 w 5957423"/>
              <a:gd name="connsiteY245" fmla="*/ 2428452 h 6858000"/>
              <a:gd name="connsiteX246" fmla="*/ 2112931 w 5957423"/>
              <a:gd name="connsiteY246" fmla="*/ 2422144 h 6858000"/>
              <a:gd name="connsiteX247" fmla="*/ 1870800 w 5957423"/>
              <a:gd name="connsiteY247" fmla="*/ 2238409 h 6858000"/>
              <a:gd name="connsiteX248" fmla="*/ 1870800 w 5957423"/>
              <a:gd name="connsiteY248" fmla="*/ 2059405 h 6858000"/>
              <a:gd name="connsiteX249" fmla="*/ 1857392 w 5957423"/>
              <a:gd name="connsiteY249" fmla="*/ 2060983 h 6858000"/>
              <a:gd name="connsiteX250" fmla="*/ 1857392 w 5957423"/>
              <a:gd name="connsiteY250" fmla="*/ 2232889 h 6858000"/>
              <a:gd name="connsiteX251" fmla="*/ 1496167 w 5957423"/>
              <a:gd name="connsiteY251" fmla="*/ 2513617 h 6858000"/>
              <a:gd name="connsiteX252" fmla="*/ 1496167 w 5957423"/>
              <a:gd name="connsiteY252" fmla="*/ 2166650 h 6858000"/>
              <a:gd name="connsiteX253" fmla="*/ 1666526 w 5957423"/>
              <a:gd name="connsiteY253" fmla="*/ 2034960 h 6858000"/>
              <a:gd name="connsiteX254" fmla="*/ 1658639 w 5957423"/>
              <a:gd name="connsiteY254" fmla="*/ 2023920 h 6858000"/>
              <a:gd name="connsiteX255" fmla="*/ 1666526 w 5957423"/>
              <a:gd name="connsiteY255" fmla="*/ 2034172 h 6858000"/>
              <a:gd name="connsiteX256" fmla="*/ 1857392 w 5957423"/>
              <a:gd name="connsiteY256" fmla="*/ 1885922 h 6858000"/>
              <a:gd name="connsiteX257" fmla="*/ 1857392 w 5957423"/>
              <a:gd name="connsiteY257" fmla="*/ 2060194 h 6858000"/>
              <a:gd name="connsiteX258" fmla="*/ 1870800 w 5957423"/>
              <a:gd name="connsiteY258" fmla="*/ 2058617 h 6858000"/>
              <a:gd name="connsiteX259" fmla="*/ 1870800 w 5957423"/>
              <a:gd name="connsiteY259" fmla="*/ 1881190 h 6858000"/>
              <a:gd name="connsiteX260" fmla="*/ 1886574 w 5957423"/>
              <a:gd name="connsiteY260" fmla="*/ 1868573 h 6858000"/>
              <a:gd name="connsiteX261" fmla="*/ 1886574 w 5957423"/>
              <a:gd name="connsiteY261" fmla="*/ 1852014 h 6858000"/>
              <a:gd name="connsiteX262" fmla="*/ 1869222 w 5957423"/>
              <a:gd name="connsiteY262" fmla="*/ 1865419 h 6858000"/>
              <a:gd name="connsiteX263" fmla="*/ 1869222 w 5957423"/>
              <a:gd name="connsiteY263" fmla="*/ 1519240 h 6858000"/>
              <a:gd name="connsiteX264" fmla="*/ 1886574 w 5957423"/>
              <a:gd name="connsiteY264" fmla="*/ 1505835 h 6858000"/>
              <a:gd name="connsiteX265" fmla="*/ 1886574 w 5957423"/>
              <a:gd name="connsiteY265" fmla="*/ 1489275 h 6858000"/>
              <a:gd name="connsiteX266" fmla="*/ 1862124 w 5957423"/>
              <a:gd name="connsiteY266" fmla="*/ 1508201 h 6858000"/>
              <a:gd name="connsiteX267" fmla="*/ 1496955 w 5957423"/>
              <a:gd name="connsiteY267" fmla="*/ 1230627 h 6858000"/>
              <a:gd name="connsiteX268" fmla="*/ 1861335 w 5957423"/>
              <a:gd name="connsiteY268" fmla="*/ 947533 h 6858000"/>
              <a:gd name="connsiteX269" fmla="*/ 2226503 w 5957423"/>
              <a:gd name="connsiteY269" fmla="*/ 1225107 h 6858000"/>
              <a:gd name="connsiteX270" fmla="*/ 1887362 w 5957423"/>
              <a:gd name="connsiteY270" fmla="*/ 1488487 h 6858000"/>
              <a:gd name="connsiteX271" fmla="*/ 1887362 w 5957423"/>
              <a:gd name="connsiteY271" fmla="*/ 1505046 h 6858000"/>
              <a:gd name="connsiteX272" fmla="*/ 2231236 w 5957423"/>
              <a:gd name="connsiteY272" fmla="*/ 1238512 h 6858000"/>
              <a:gd name="connsiteX273" fmla="*/ 2231236 w 5957423"/>
              <a:gd name="connsiteY273" fmla="*/ 1585480 h 6858000"/>
              <a:gd name="connsiteX274" fmla="*/ 1887362 w 5957423"/>
              <a:gd name="connsiteY274" fmla="*/ 1851225 h 6858000"/>
              <a:gd name="connsiteX275" fmla="*/ 1887362 w 5957423"/>
              <a:gd name="connsiteY275" fmla="*/ 1867785 h 6858000"/>
              <a:gd name="connsiteX276" fmla="*/ 2243855 w 5957423"/>
              <a:gd name="connsiteY276" fmla="*/ 1591788 h 6858000"/>
              <a:gd name="connsiteX277" fmla="*/ 2243855 w 5957423"/>
              <a:gd name="connsiteY277" fmla="*/ 1221952 h 6858000"/>
              <a:gd name="connsiteX278" fmla="*/ 1870800 w 5957423"/>
              <a:gd name="connsiteY278" fmla="*/ 938859 h 6858000"/>
              <a:gd name="connsiteX279" fmla="*/ 1870800 w 5957423"/>
              <a:gd name="connsiteY279" fmla="*/ 590314 h 6858000"/>
              <a:gd name="connsiteX280" fmla="*/ 1857392 w 5957423"/>
              <a:gd name="connsiteY280" fmla="*/ 600566 h 6858000"/>
              <a:gd name="connsiteX281" fmla="*/ 1857392 w 5957423"/>
              <a:gd name="connsiteY281" fmla="*/ 933339 h 6858000"/>
              <a:gd name="connsiteX282" fmla="*/ 1496167 w 5957423"/>
              <a:gd name="connsiteY282" fmla="*/ 1214067 h 6858000"/>
              <a:gd name="connsiteX283" fmla="*/ 1496167 w 5957423"/>
              <a:gd name="connsiteY283" fmla="*/ 867888 h 6858000"/>
              <a:gd name="connsiteX284" fmla="*/ 1857392 w 5957423"/>
              <a:gd name="connsiteY284" fmla="*/ 587160 h 6858000"/>
              <a:gd name="connsiteX285" fmla="*/ 1857392 w 5957423"/>
              <a:gd name="connsiteY285" fmla="*/ 599777 h 6858000"/>
              <a:gd name="connsiteX286" fmla="*/ 1870800 w 5957423"/>
              <a:gd name="connsiteY286" fmla="*/ 589526 h 6858000"/>
              <a:gd name="connsiteX287" fmla="*/ 1870800 w 5957423"/>
              <a:gd name="connsiteY287" fmla="*/ 570600 h 6858000"/>
              <a:gd name="connsiteX288" fmla="*/ 1509574 w 5957423"/>
              <a:gd name="connsiteY288" fmla="*/ 295392 h 6858000"/>
              <a:gd name="connsiteX289" fmla="*/ 1498533 w 5957423"/>
              <a:gd name="connsiteY289" fmla="*/ 304066 h 6858000"/>
              <a:gd name="connsiteX290" fmla="*/ 1508786 w 5957423"/>
              <a:gd name="connsiteY290" fmla="*/ 295392 h 6858000"/>
              <a:gd name="connsiteX291" fmla="*/ 1493012 w 5957423"/>
              <a:gd name="connsiteY291" fmla="*/ 283564 h 6858000"/>
              <a:gd name="connsiteX292" fmla="*/ 1493012 w 5957423"/>
              <a:gd name="connsiteY292" fmla="*/ 1953 h 6858000"/>
              <a:gd name="connsiteX293" fmla="*/ 1398859 w 5957423"/>
              <a:gd name="connsiteY293" fmla="*/ 0 h 6858000"/>
              <a:gd name="connsiteX294" fmla="*/ 1480393 w 5957423"/>
              <a:gd name="connsiteY294" fmla="*/ 0 h 6858000"/>
              <a:gd name="connsiteX295" fmla="*/ 1480393 w 5957423"/>
              <a:gd name="connsiteY295" fmla="*/ 84404 h 6858000"/>
              <a:gd name="connsiteX296" fmla="*/ 1480393 w 5957423"/>
              <a:gd name="connsiteY296" fmla="*/ 283564 h 6858000"/>
              <a:gd name="connsiteX297" fmla="*/ 1118379 w 5957423"/>
              <a:gd name="connsiteY297" fmla="*/ 564292 h 6858000"/>
              <a:gd name="connsiteX298" fmla="*/ 1118379 w 5957423"/>
              <a:gd name="connsiteY298" fmla="*/ 218113 h 6858000"/>
              <a:gd name="connsiteX299" fmla="*/ 1379242 w 5957423"/>
              <a:gd name="connsiteY299" fmla="*/ 15255 h 6858000"/>
              <a:gd name="connsiteX300" fmla="*/ 840168 w 5957423"/>
              <a:gd name="connsiteY300" fmla="*/ 0 h 6858000"/>
              <a:gd name="connsiteX301" fmla="*/ 1377550 w 5957423"/>
              <a:gd name="connsiteY301" fmla="*/ 0 h 6858000"/>
              <a:gd name="connsiteX302" fmla="*/ 1301753 w 5957423"/>
              <a:gd name="connsiteY302" fmla="*/ 58896 h 6858000"/>
              <a:gd name="connsiteX303" fmla="*/ 1112069 w 5957423"/>
              <a:gd name="connsiteY303" fmla="*/ 206284 h 6858000"/>
              <a:gd name="connsiteX304" fmla="*/ 857417 w 5957423"/>
              <a:gd name="connsiteY304" fmla="*/ 13087 h 6858000"/>
              <a:gd name="connsiteX0" fmla="*/ 738225 w 42118086"/>
              <a:gd name="connsiteY0" fmla="*/ 6911396 h 6975464"/>
              <a:gd name="connsiteX1" fmla="*/ 814828 w 42118086"/>
              <a:gd name="connsiteY1" fmla="*/ 6969750 h 6975464"/>
              <a:gd name="connsiteX2" fmla="*/ 822329 w 42118086"/>
              <a:gd name="connsiteY2" fmla="*/ 6975464 h 6975464"/>
              <a:gd name="connsiteX3" fmla="*/ 655724 w 42118086"/>
              <a:gd name="connsiteY3" fmla="*/ 6975464 h 6975464"/>
              <a:gd name="connsiteX4" fmla="*/ 656989 w 42118086"/>
              <a:gd name="connsiteY4" fmla="*/ 6974481 h 6975464"/>
              <a:gd name="connsiteX5" fmla="*/ 738225 w 42118086"/>
              <a:gd name="connsiteY5" fmla="*/ 6911396 h 6975464"/>
              <a:gd name="connsiteX6" fmla="*/ 733493 w 42118086"/>
              <a:gd name="connsiteY6" fmla="*/ 6551812 h 6975464"/>
              <a:gd name="connsiteX7" fmla="*/ 733493 w 42118086"/>
              <a:gd name="connsiteY7" fmla="*/ 6897991 h 6975464"/>
              <a:gd name="connsiteX8" fmla="*/ 639637 w 42118086"/>
              <a:gd name="connsiteY8" fmla="*/ 6970539 h 6975464"/>
              <a:gd name="connsiteX9" fmla="*/ 656989 w 42118086"/>
              <a:gd name="connsiteY9" fmla="*/ 6974481 h 6975464"/>
              <a:gd name="connsiteX10" fmla="*/ 638848 w 42118086"/>
              <a:gd name="connsiteY10" fmla="*/ 6971327 h 6975464"/>
              <a:gd name="connsiteX11" fmla="*/ 633515 w 42118086"/>
              <a:gd name="connsiteY11" fmla="*/ 6975464 h 6975464"/>
              <a:gd name="connsiteX12" fmla="*/ 371479 w 42118086"/>
              <a:gd name="connsiteY12" fmla="*/ 6975464 h 6975464"/>
              <a:gd name="connsiteX13" fmla="*/ 371479 w 42118086"/>
              <a:gd name="connsiteY13" fmla="*/ 6917056 h 6975464"/>
              <a:gd name="connsiteX14" fmla="*/ 371479 w 42118086"/>
              <a:gd name="connsiteY14" fmla="*/ 6832540 h 6975464"/>
              <a:gd name="connsiteX15" fmla="*/ 733493 w 42118086"/>
              <a:gd name="connsiteY15" fmla="*/ 6551812 h 6975464"/>
              <a:gd name="connsiteX16" fmla="*/ 1106548 w 42118086"/>
              <a:gd name="connsiteY16" fmla="*/ 5904403 h 6975464"/>
              <a:gd name="connsiteX17" fmla="*/ 1106548 w 42118086"/>
              <a:gd name="connsiteY17" fmla="*/ 6251370 h 6975464"/>
              <a:gd name="connsiteX18" fmla="*/ 1012693 w 42118086"/>
              <a:gd name="connsiteY18" fmla="*/ 6323918 h 6975464"/>
              <a:gd name="connsiteX19" fmla="*/ 744534 w 42118086"/>
              <a:gd name="connsiteY19" fmla="*/ 6531309 h 6975464"/>
              <a:gd name="connsiteX20" fmla="*/ 744534 w 42118086"/>
              <a:gd name="connsiteY20" fmla="*/ 6185131 h 6975464"/>
              <a:gd name="connsiteX21" fmla="*/ 873093 w 42118086"/>
              <a:gd name="connsiteY21" fmla="*/ 6085772 h 6975464"/>
              <a:gd name="connsiteX22" fmla="*/ 1106548 w 42118086"/>
              <a:gd name="connsiteY22" fmla="*/ 5904403 h 6975464"/>
              <a:gd name="connsiteX23" fmla="*/ 1739875 w 42118086"/>
              <a:gd name="connsiteY23" fmla="*/ 5788484 h 6975464"/>
              <a:gd name="connsiteX24" fmla="*/ 1726467 w 42118086"/>
              <a:gd name="connsiteY24" fmla="*/ 5794792 h 6975464"/>
              <a:gd name="connsiteX25" fmla="*/ 1739875 w 42118086"/>
              <a:gd name="connsiteY25" fmla="*/ 5788484 h 6975464"/>
              <a:gd name="connsiteX26" fmla="*/ 1488280 w 42118086"/>
              <a:gd name="connsiteY26" fmla="*/ 5613423 h 6975464"/>
              <a:gd name="connsiteX27" fmla="*/ 1726467 w 42118086"/>
              <a:gd name="connsiteY27" fmla="*/ 5794792 h 6975464"/>
              <a:gd name="connsiteX28" fmla="*/ 1853448 w 42118086"/>
              <a:gd name="connsiteY28" fmla="*/ 5890997 h 6975464"/>
              <a:gd name="connsiteX29" fmla="*/ 1489068 w 42118086"/>
              <a:gd name="connsiteY29" fmla="*/ 6174091 h 6975464"/>
              <a:gd name="connsiteX30" fmla="*/ 1123900 w 42118086"/>
              <a:gd name="connsiteY30" fmla="*/ 5896517 h 6975464"/>
              <a:gd name="connsiteX31" fmla="*/ 1488280 w 42118086"/>
              <a:gd name="connsiteY31" fmla="*/ 5613423 h 6975464"/>
              <a:gd name="connsiteX32" fmla="*/ 359648 w 42118086"/>
              <a:gd name="connsiteY32" fmla="*/ 4965225 h 6975464"/>
              <a:gd name="connsiteX33" fmla="*/ 724817 w 42118086"/>
              <a:gd name="connsiteY33" fmla="*/ 5242799 h 6975464"/>
              <a:gd name="connsiteX34" fmla="*/ 487418 w 42118086"/>
              <a:gd name="connsiteY34" fmla="*/ 5426534 h 6975464"/>
              <a:gd name="connsiteX35" fmla="*/ 493727 w 42118086"/>
              <a:gd name="connsiteY35" fmla="*/ 5437574 h 6975464"/>
              <a:gd name="connsiteX36" fmla="*/ 733493 w 42118086"/>
              <a:gd name="connsiteY36" fmla="*/ 5252262 h 6975464"/>
              <a:gd name="connsiteX37" fmla="*/ 733493 w 42118086"/>
              <a:gd name="connsiteY37" fmla="*/ 5598440 h 6975464"/>
              <a:gd name="connsiteX38" fmla="*/ 633328 w 42118086"/>
              <a:gd name="connsiteY38" fmla="*/ 5675720 h 6975464"/>
              <a:gd name="connsiteX39" fmla="*/ 641215 w 42118086"/>
              <a:gd name="connsiteY39" fmla="*/ 5688337 h 6975464"/>
              <a:gd name="connsiteX40" fmla="*/ 737436 w 42118086"/>
              <a:gd name="connsiteY40" fmla="*/ 5613423 h 6975464"/>
              <a:gd name="connsiteX41" fmla="*/ 1102605 w 42118086"/>
              <a:gd name="connsiteY41" fmla="*/ 5890997 h 6975464"/>
              <a:gd name="connsiteX42" fmla="*/ 866783 w 42118086"/>
              <a:gd name="connsiteY42" fmla="*/ 6073943 h 6975464"/>
              <a:gd name="connsiteX43" fmla="*/ 873093 w 42118086"/>
              <a:gd name="connsiteY43" fmla="*/ 6085772 h 6975464"/>
              <a:gd name="connsiteX44" fmla="*/ 865994 w 42118086"/>
              <a:gd name="connsiteY44" fmla="*/ 6074732 h 6975464"/>
              <a:gd name="connsiteX45" fmla="*/ 738225 w 42118086"/>
              <a:gd name="connsiteY45" fmla="*/ 6174091 h 6975464"/>
              <a:gd name="connsiteX46" fmla="*/ 373056 w 42118086"/>
              <a:gd name="connsiteY46" fmla="*/ 5896517 h 6975464"/>
              <a:gd name="connsiteX47" fmla="*/ 640426 w 42118086"/>
              <a:gd name="connsiteY47" fmla="*/ 5689125 h 6975464"/>
              <a:gd name="connsiteX48" fmla="*/ 633328 w 42118086"/>
              <a:gd name="connsiteY48" fmla="*/ 5676508 h 6975464"/>
              <a:gd name="connsiteX49" fmla="*/ 371479 w 42118086"/>
              <a:gd name="connsiteY49" fmla="*/ 5879169 h 6975464"/>
              <a:gd name="connsiteX50" fmla="*/ 371479 w 42118086"/>
              <a:gd name="connsiteY50" fmla="*/ 5532990 h 6975464"/>
              <a:gd name="connsiteX51" fmla="*/ 493727 w 42118086"/>
              <a:gd name="connsiteY51" fmla="*/ 5438362 h 6975464"/>
              <a:gd name="connsiteX52" fmla="*/ 486629 w 42118086"/>
              <a:gd name="connsiteY52" fmla="*/ 5426534 h 6975464"/>
              <a:gd name="connsiteX53" fmla="*/ 365169 w 42118086"/>
              <a:gd name="connsiteY53" fmla="*/ 5521161 h 6975464"/>
              <a:gd name="connsiteX54" fmla="*/ 0 w 42118086"/>
              <a:gd name="connsiteY54" fmla="*/ 5243588 h 6975464"/>
              <a:gd name="connsiteX55" fmla="*/ 359648 w 42118086"/>
              <a:gd name="connsiteY55" fmla="*/ 4965225 h 6975464"/>
              <a:gd name="connsiteX56" fmla="*/ 1106548 w 42118086"/>
              <a:gd name="connsiteY56" fmla="*/ 4604852 h 6975464"/>
              <a:gd name="connsiteX57" fmla="*/ 1106548 w 42118086"/>
              <a:gd name="connsiteY57" fmla="*/ 4951031 h 6975464"/>
              <a:gd name="connsiteX58" fmla="*/ 1018214 w 42118086"/>
              <a:gd name="connsiteY58" fmla="*/ 5019636 h 6975464"/>
              <a:gd name="connsiteX59" fmla="*/ 1025312 w 42118086"/>
              <a:gd name="connsiteY59" fmla="*/ 5030676 h 6975464"/>
              <a:gd name="connsiteX60" fmla="*/ 1017425 w 42118086"/>
              <a:gd name="connsiteY60" fmla="*/ 5020424 h 6975464"/>
              <a:gd name="connsiteX61" fmla="*/ 744534 w 42118086"/>
              <a:gd name="connsiteY61" fmla="*/ 5231759 h 6975464"/>
              <a:gd name="connsiteX62" fmla="*/ 744534 w 42118086"/>
              <a:gd name="connsiteY62" fmla="*/ 4885580 h 6975464"/>
              <a:gd name="connsiteX63" fmla="*/ 856530 w 42118086"/>
              <a:gd name="connsiteY63" fmla="*/ 4798050 h 6975464"/>
              <a:gd name="connsiteX64" fmla="*/ 849432 w 42118086"/>
              <a:gd name="connsiteY64" fmla="*/ 4787799 h 6975464"/>
              <a:gd name="connsiteX65" fmla="*/ 857319 w 42118086"/>
              <a:gd name="connsiteY65" fmla="*/ 4798050 h 6975464"/>
              <a:gd name="connsiteX66" fmla="*/ 1106548 w 42118086"/>
              <a:gd name="connsiteY66" fmla="*/ 4604852 h 6975464"/>
              <a:gd name="connsiteX67" fmla="*/ 737436 w 42118086"/>
              <a:gd name="connsiteY67" fmla="*/ 4313873 h 6975464"/>
              <a:gd name="connsiteX68" fmla="*/ 1102605 w 42118086"/>
              <a:gd name="connsiteY68" fmla="*/ 4591447 h 6975464"/>
              <a:gd name="connsiteX69" fmla="*/ 849432 w 42118086"/>
              <a:gd name="connsiteY69" fmla="*/ 4787799 h 6975464"/>
              <a:gd name="connsiteX70" fmla="*/ 738225 w 42118086"/>
              <a:gd name="connsiteY70" fmla="*/ 4873752 h 6975464"/>
              <a:gd name="connsiteX71" fmla="*/ 373056 w 42118086"/>
              <a:gd name="connsiteY71" fmla="*/ 4596178 h 6975464"/>
              <a:gd name="connsiteX72" fmla="*/ 737436 w 42118086"/>
              <a:gd name="connsiteY72" fmla="*/ 4313873 h 6975464"/>
              <a:gd name="connsiteX73" fmla="*/ 1115224 w 42118086"/>
              <a:gd name="connsiteY73" fmla="*/ 3661732 h 6975464"/>
              <a:gd name="connsiteX74" fmla="*/ 1125477 w 42118086"/>
              <a:gd name="connsiteY74" fmla="*/ 3669618 h 6975464"/>
              <a:gd name="connsiteX75" fmla="*/ 1480393 w 42118086"/>
              <a:gd name="connsiteY75" fmla="*/ 3939306 h 6975464"/>
              <a:gd name="connsiteX76" fmla="*/ 1116013 w 42118086"/>
              <a:gd name="connsiteY76" fmla="*/ 4222399 h 6975464"/>
              <a:gd name="connsiteX77" fmla="*/ 750844 w 42118086"/>
              <a:gd name="connsiteY77" fmla="*/ 3944037 h 6975464"/>
              <a:gd name="connsiteX78" fmla="*/ 1115224 w 42118086"/>
              <a:gd name="connsiteY78" fmla="*/ 3661732 h 6975464"/>
              <a:gd name="connsiteX79" fmla="*/ 1480393 w 42118086"/>
              <a:gd name="connsiteY79" fmla="*/ 2656315 h 6975464"/>
              <a:gd name="connsiteX80" fmla="*/ 1480393 w 42118086"/>
              <a:gd name="connsiteY80" fmla="*/ 3002494 h 6975464"/>
              <a:gd name="connsiteX81" fmla="*/ 1386537 w 42118086"/>
              <a:gd name="connsiteY81" fmla="*/ 3075042 h 6975464"/>
              <a:gd name="connsiteX82" fmla="*/ 1392847 w 42118086"/>
              <a:gd name="connsiteY82" fmla="*/ 3086870 h 6975464"/>
              <a:gd name="connsiteX83" fmla="*/ 1385748 w 42118086"/>
              <a:gd name="connsiteY83" fmla="*/ 3075830 h 6975464"/>
              <a:gd name="connsiteX84" fmla="*/ 1118379 w 42118086"/>
              <a:gd name="connsiteY84" fmla="*/ 3283222 h 6975464"/>
              <a:gd name="connsiteX85" fmla="*/ 1118379 w 42118086"/>
              <a:gd name="connsiteY85" fmla="*/ 2937043 h 6975464"/>
              <a:gd name="connsiteX86" fmla="*/ 1246148 w 42118086"/>
              <a:gd name="connsiteY86" fmla="*/ 2837685 h 6975464"/>
              <a:gd name="connsiteX87" fmla="*/ 1239839 w 42118086"/>
              <a:gd name="connsiteY87" fmla="*/ 2825856 h 6975464"/>
              <a:gd name="connsiteX88" fmla="*/ 1246937 w 42118086"/>
              <a:gd name="connsiteY88" fmla="*/ 2836896 h 6975464"/>
              <a:gd name="connsiteX89" fmla="*/ 1480393 w 42118086"/>
              <a:gd name="connsiteY89" fmla="*/ 2656315 h 6975464"/>
              <a:gd name="connsiteX90" fmla="*/ 732704 w 42118086"/>
              <a:gd name="connsiteY90" fmla="*/ 1716349 h 6975464"/>
              <a:gd name="connsiteX91" fmla="*/ 1097873 w 42118086"/>
              <a:gd name="connsiteY91" fmla="*/ 1993923 h 6975464"/>
              <a:gd name="connsiteX92" fmla="*/ 860473 w 42118086"/>
              <a:gd name="connsiteY92" fmla="*/ 2177658 h 6975464"/>
              <a:gd name="connsiteX93" fmla="*/ 867572 w 42118086"/>
              <a:gd name="connsiteY93" fmla="*/ 2189486 h 6975464"/>
              <a:gd name="connsiteX94" fmla="*/ 1106548 w 42118086"/>
              <a:gd name="connsiteY94" fmla="*/ 2003386 h 6975464"/>
              <a:gd name="connsiteX95" fmla="*/ 1106548 w 42118086"/>
              <a:gd name="connsiteY95" fmla="*/ 2350353 h 6975464"/>
              <a:gd name="connsiteX96" fmla="*/ 1007172 w 42118086"/>
              <a:gd name="connsiteY96" fmla="*/ 2427632 h 6975464"/>
              <a:gd name="connsiteX97" fmla="*/ 1014270 w 42118086"/>
              <a:gd name="connsiteY97" fmla="*/ 2440249 h 6975464"/>
              <a:gd name="connsiteX98" fmla="*/ 1110492 w 42118086"/>
              <a:gd name="connsiteY98" fmla="*/ 2365336 h 6975464"/>
              <a:gd name="connsiteX99" fmla="*/ 1475660 w 42118086"/>
              <a:gd name="connsiteY99" fmla="*/ 2642910 h 6975464"/>
              <a:gd name="connsiteX100" fmla="*/ 1239839 w 42118086"/>
              <a:gd name="connsiteY100" fmla="*/ 2825856 h 6975464"/>
              <a:gd name="connsiteX101" fmla="*/ 1112069 w 42118086"/>
              <a:gd name="connsiteY101" fmla="*/ 2925215 h 6975464"/>
              <a:gd name="connsiteX102" fmla="*/ 746900 w 42118086"/>
              <a:gd name="connsiteY102" fmla="*/ 2647641 h 6975464"/>
              <a:gd name="connsiteX103" fmla="*/ 1013481 w 42118086"/>
              <a:gd name="connsiteY103" fmla="*/ 2440249 h 6975464"/>
              <a:gd name="connsiteX104" fmla="*/ 1006383 w 42118086"/>
              <a:gd name="connsiteY104" fmla="*/ 2427632 h 6975464"/>
              <a:gd name="connsiteX105" fmla="*/ 744534 w 42118086"/>
              <a:gd name="connsiteY105" fmla="*/ 2631081 h 6975464"/>
              <a:gd name="connsiteX106" fmla="*/ 744534 w 42118086"/>
              <a:gd name="connsiteY106" fmla="*/ 2284114 h 6975464"/>
              <a:gd name="connsiteX107" fmla="*/ 866783 w 42118086"/>
              <a:gd name="connsiteY107" fmla="*/ 2189486 h 6975464"/>
              <a:gd name="connsiteX108" fmla="*/ 860473 w 42118086"/>
              <a:gd name="connsiteY108" fmla="*/ 2178447 h 6975464"/>
              <a:gd name="connsiteX109" fmla="*/ 738225 w 42118086"/>
              <a:gd name="connsiteY109" fmla="*/ 2273074 h 6975464"/>
              <a:gd name="connsiteX110" fmla="*/ 373056 w 42118086"/>
              <a:gd name="connsiteY110" fmla="*/ 1995500 h 6975464"/>
              <a:gd name="connsiteX111" fmla="*/ 732704 w 42118086"/>
              <a:gd name="connsiteY111" fmla="*/ 1716349 h 6975464"/>
              <a:gd name="connsiteX112" fmla="*/ 1480393 w 42118086"/>
              <a:gd name="connsiteY112" fmla="*/ 1355976 h 6975464"/>
              <a:gd name="connsiteX113" fmla="*/ 1480393 w 42118086"/>
              <a:gd name="connsiteY113" fmla="*/ 1702944 h 6975464"/>
              <a:gd name="connsiteX114" fmla="*/ 1391269 w 42118086"/>
              <a:gd name="connsiteY114" fmla="*/ 1771549 h 6975464"/>
              <a:gd name="connsiteX115" fmla="*/ 1399156 w 42118086"/>
              <a:gd name="connsiteY115" fmla="*/ 1781800 h 6975464"/>
              <a:gd name="connsiteX116" fmla="*/ 1483547 w 42118086"/>
              <a:gd name="connsiteY116" fmla="*/ 1716349 h 6975464"/>
              <a:gd name="connsiteX117" fmla="*/ 1848716 w 42118086"/>
              <a:gd name="connsiteY117" fmla="*/ 1993923 h 6975464"/>
              <a:gd name="connsiteX118" fmla="*/ 1658639 w 42118086"/>
              <a:gd name="connsiteY118" fmla="*/ 2141384 h 6975464"/>
              <a:gd name="connsiteX119" fmla="*/ 1489068 w 42118086"/>
              <a:gd name="connsiteY119" fmla="*/ 2273074 h 6975464"/>
              <a:gd name="connsiteX120" fmla="*/ 1123900 w 42118086"/>
              <a:gd name="connsiteY120" fmla="*/ 1995500 h 6975464"/>
              <a:gd name="connsiteX121" fmla="*/ 1398368 w 42118086"/>
              <a:gd name="connsiteY121" fmla="*/ 1782588 h 6975464"/>
              <a:gd name="connsiteX122" fmla="*/ 1390481 w 42118086"/>
              <a:gd name="connsiteY122" fmla="*/ 1771549 h 6975464"/>
              <a:gd name="connsiteX123" fmla="*/ 1118379 w 42118086"/>
              <a:gd name="connsiteY123" fmla="*/ 1982883 h 6975464"/>
              <a:gd name="connsiteX124" fmla="*/ 1118379 w 42118086"/>
              <a:gd name="connsiteY124" fmla="*/ 1636704 h 6975464"/>
              <a:gd name="connsiteX125" fmla="*/ 1230374 w 42118086"/>
              <a:gd name="connsiteY125" fmla="*/ 1549963 h 6975464"/>
              <a:gd name="connsiteX126" fmla="*/ 1480393 w 42118086"/>
              <a:gd name="connsiteY126" fmla="*/ 1355976 h 6975464"/>
              <a:gd name="connsiteX127" fmla="*/ 1110492 w 42118086"/>
              <a:gd name="connsiteY127" fmla="*/ 1064997 h 6975464"/>
              <a:gd name="connsiteX128" fmla="*/ 1475660 w 42118086"/>
              <a:gd name="connsiteY128" fmla="*/ 1342571 h 6975464"/>
              <a:gd name="connsiteX129" fmla="*/ 1223276 w 42118086"/>
              <a:gd name="connsiteY129" fmla="*/ 1538923 h 6975464"/>
              <a:gd name="connsiteX130" fmla="*/ 1230374 w 42118086"/>
              <a:gd name="connsiteY130" fmla="*/ 1549963 h 6975464"/>
              <a:gd name="connsiteX131" fmla="*/ 1222487 w 42118086"/>
              <a:gd name="connsiteY131" fmla="*/ 1539711 h 6975464"/>
              <a:gd name="connsiteX132" fmla="*/ 1112069 w 42118086"/>
              <a:gd name="connsiteY132" fmla="*/ 1625665 h 6975464"/>
              <a:gd name="connsiteX133" fmla="*/ 746900 w 42118086"/>
              <a:gd name="connsiteY133" fmla="*/ 1348091 h 6975464"/>
              <a:gd name="connsiteX134" fmla="*/ 1110492 w 42118086"/>
              <a:gd name="connsiteY134" fmla="*/ 1064997 h 6975464"/>
              <a:gd name="connsiteX135" fmla="*/ 1488280 w 42118086"/>
              <a:gd name="connsiteY135" fmla="*/ 413645 h 6975464"/>
              <a:gd name="connsiteX136" fmla="*/ 1498533 w 42118086"/>
              <a:gd name="connsiteY136" fmla="*/ 421530 h 6975464"/>
              <a:gd name="connsiteX137" fmla="*/ 1853448 w 42118086"/>
              <a:gd name="connsiteY137" fmla="*/ 691218 h 6975464"/>
              <a:gd name="connsiteX138" fmla="*/ 1489068 w 42118086"/>
              <a:gd name="connsiteY138" fmla="*/ 973524 h 6975464"/>
              <a:gd name="connsiteX139" fmla="*/ 1123900 w 42118086"/>
              <a:gd name="connsiteY139" fmla="*/ 695950 h 6975464"/>
              <a:gd name="connsiteX140" fmla="*/ 1488280 w 42118086"/>
              <a:gd name="connsiteY140" fmla="*/ 413645 h 6975464"/>
              <a:gd name="connsiteX141" fmla="*/ 1493012 w 42118086"/>
              <a:gd name="connsiteY141" fmla="*/ 117464 h 6975464"/>
              <a:gd name="connsiteX142" fmla="*/ 42118086 w 42118086"/>
              <a:gd name="connsiteY142" fmla="*/ 0 h 6975464"/>
              <a:gd name="connsiteX143" fmla="*/ 5957423 w 42118086"/>
              <a:gd name="connsiteY143" fmla="*/ 6975464 h 6975464"/>
              <a:gd name="connsiteX144" fmla="*/ 843615 w 42118086"/>
              <a:gd name="connsiteY144" fmla="*/ 6975464 h 6975464"/>
              <a:gd name="connsiteX145" fmla="*/ 810785 w 42118086"/>
              <a:gd name="connsiteY145" fmla="*/ 6950504 h 6975464"/>
              <a:gd name="connsiteX146" fmla="*/ 746900 w 42118086"/>
              <a:gd name="connsiteY146" fmla="*/ 6901934 h 6975464"/>
              <a:gd name="connsiteX147" fmla="*/ 746900 w 42118086"/>
              <a:gd name="connsiteY147" fmla="*/ 6547081 h 6975464"/>
              <a:gd name="connsiteX148" fmla="*/ 1019002 w 42118086"/>
              <a:gd name="connsiteY148" fmla="*/ 6335746 h 6975464"/>
              <a:gd name="connsiteX149" fmla="*/ 1012693 w 42118086"/>
              <a:gd name="connsiteY149" fmla="*/ 6323918 h 6975464"/>
              <a:gd name="connsiteX150" fmla="*/ 1019791 w 42118086"/>
              <a:gd name="connsiteY150" fmla="*/ 6334957 h 6975464"/>
              <a:gd name="connsiteX151" fmla="*/ 1110492 w 42118086"/>
              <a:gd name="connsiteY151" fmla="*/ 6264775 h 6975464"/>
              <a:gd name="connsiteX152" fmla="*/ 1489068 w 42118086"/>
              <a:gd name="connsiteY152" fmla="*/ 6553389 h 6975464"/>
              <a:gd name="connsiteX153" fmla="*/ 1870800 w 42118086"/>
              <a:gd name="connsiteY153" fmla="*/ 6257678 h 6975464"/>
              <a:gd name="connsiteX154" fmla="*/ 1870800 w 42118086"/>
              <a:gd name="connsiteY154" fmla="*/ 6139394 h 6975464"/>
              <a:gd name="connsiteX155" fmla="*/ 1857392 w 42118086"/>
              <a:gd name="connsiteY155" fmla="*/ 6144914 h 6975464"/>
              <a:gd name="connsiteX156" fmla="*/ 1857392 w 42118086"/>
              <a:gd name="connsiteY156" fmla="*/ 6251370 h 6975464"/>
              <a:gd name="connsiteX157" fmla="*/ 1495378 w 42118086"/>
              <a:gd name="connsiteY157" fmla="*/ 6531309 h 6975464"/>
              <a:gd name="connsiteX158" fmla="*/ 1495378 w 42118086"/>
              <a:gd name="connsiteY158" fmla="*/ 6185131 h 6975464"/>
              <a:gd name="connsiteX159" fmla="*/ 1857392 w 42118086"/>
              <a:gd name="connsiteY159" fmla="*/ 5904403 h 6975464"/>
              <a:gd name="connsiteX160" fmla="*/ 1857392 w 42118086"/>
              <a:gd name="connsiteY160" fmla="*/ 6144125 h 6975464"/>
              <a:gd name="connsiteX161" fmla="*/ 1870800 w 42118086"/>
              <a:gd name="connsiteY161" fmla="*/ 6138605 h 6975464"/>
              <a:gd name="connsiteX162" fmla="*/ 1870800 w 42118086"/>
              <a:gd name="connsiteY162" fmla="*/ 5887843 h 6975464"/>
              <a:gd name="connsiteX163" fmla="*/ 1739875 w 42118086"/>
              <a:gd name="connsiteY163" fmla="*/ 5788484 h 6975464"/>
              <a:gd name="connsiteX164" fmla="*/ 1497744 w 42118086"/>
              <a:gd name="connsiteY164" fmla="*/ 5604749 h 6975464"/>
              <a:gd name="connsiteX165" fmla="*/ 1497744 w 42118086"/>
              <a:gd name="connsiteY165" fmla="*/ 5424957 h 6975464"/>
              <a:gd name="connsiteX166" fmla="*/ 1484336 w 42118086"/>
              <a:gd name="connsiteY166" fmla="*/ 5427322 h 6975464"/>
              <a:gd name="connsiteX167" fmla="*/ 1484336 w 42118086"/>
              <a:gd name="connsiteY167" fmla="*/ 5598440 h 6975464"/>
              <a:gd name="connsiteX168" fmla="*/ 1122322 w 42118086"/>
              <a:gd name="connsiteY168" fmla="*/ 5879169 h 6975464"/>
              <a:gd name="connsiteX169" fmla="*/ 1122322 w 42118086"/>
              <a:gd name="connsiteY169" fmla="*/ 5532990 h 6975464"/>
              <a:gd name="connsiteX170" fmla="*/ 1292682 w 42118086"/>
              <a:gd name="connsiteY170" fmla="*/ 5400511 h 6975464"/>
              <a:gd name="connsiteX171" fmla="*/ 1285583 w 42118086"/>
              <a:gd name="connsiteY171" fmla="*/ 5390260 h 6975464"/>
              <a:gd name="connsiteX172" fmla="*/ 1116013 w 42118086"/>
              <a:gd name="connsiteY172" fmla="*/ 5521161 h 6975464"/>
              <a:gd name="connsiteX173" fmla="*/ 750844 w 42118086"/>
              <a:gd name="connsiteY173" fmla="*/ 5243588 h 6975464"/>
              <a:gd name="connsiteX174" fmla="*/ 1025312 w 42118086"/>
              <a:gd name="connsiteY174" fmla="*/ 5030676 h 6975464"/>
              <a:gd name="connsiteX175" fmla="*/ 1110492 w 42118086"/>
              <a:gd name="connsiteY175" fmla="*/ 4965225 h 6975464"/>
              <a:gd name="connsiteX176" fmla="*/ 1475660 w 42118086"/>
              <a:gd name="connsiteY176" fmla="*/ 5242799 h 6975464"/>
              <a:gd name="connsiteX177" fmla="*/ 1285583 w 42118086"/>
              <a:gd name="connsiteY177" fmla="*/ 5389472 h 6975464"/>
              <a:gd name="connsiteX178" fmla="*/ 1293470 w 42118086"/>
              <a:gd name="connsiteY178" fmla="*/ 5400511 h 6975464"/>
              <a:gd name="connsiteX179" fmla="*/ 1484336 w 42118086"/>
              <a:gd name="connsiteY179" fmla="*/ 5252262 h 6975464"/>
              <a:gd name="connsiteX180" fmla="*/ 1484336 w 42118086"/>
              <a:gd name="connsiteY180" fmla="*/ 5426534 h 6975464"/>
              <a:gd name="connsiteX181" fmla="*/ 1497744 w 42118086"/>
              <a:gd name="connsiteY181" fmla="*/ 5424168 h 6975464"/>
              <a:gd name="connsiteX182" fmla="*/ 1497744 w 42118086"/>
              <a:gd name="connsiteY182" fmla="*/ 5246742 h 6975464"/>
              <a:gd name="connsiteX183" fmla="*/ 1513518 w 42118086"/>
              <a:gd name="connsiteY183" fmla="*/ 5234125 h 6975464"/>
              <a:gd name="connsiteX184" fmla="*/ 1513518 w 42118086"/>
              <a:gd name="connsiteY184" fmla="*/ 5217565 h 6975464"/>
              <a:gd name="connsiteX185" fmla="*/ 1495378 w 42118086"/>
              <a:gd name="connsiteY185" fmla="*/ 5231759 h 6975464"/>
              <a:gd name="connsiteX186" fmla="*/ 1495378 w 42118086"/>
              <a:gd name="connsiteY186" fmla="*/ 4885580 h 6975464"/>
              <a:gd name="connsiteX187" fmla="*/ 1513518 w 42118086"/>
              <a:gd name="connsiteY187" fmla="*/ 4871386 h 6975464"/>
              <a:gd name="connsiteX188" fmla="*/ 1513518 w 42118086"/>
              <a:gd name="connsiteY188" fmla="*/ 4854826 h 6975464"/>
              <a:gd name="connsiteX189" fmla="*/ 1489068 w 42118086"/>
              <a:gd name="connsiteY189" fmla="*/ 4873752 h 6975464"/>
              <a:gd name="connsiteX190" fmla="*/ 1123900 w 42118086"/>
              <a:gd name="connsiteY190" fmla="*/ 4596178 h 6975464"/>
              <a:gd name="connsiteX191" fmla="*/ 1488280 w 42118086"/>
              <a:gd name="connsiteY191" fmla="*/ 4313873 h 6975464"/>
              <a:gd name="connsiteX192" fmla="*/ 1853448 w 42118086"/>
              <a:gd name="connsiteY192" fmla="*/ 4591447 h 6975464"/>
              <a:gd name="connsiteX193" fmla="*/ 1514307 w 42118086"/>
              <a:gd name="connsiteY193" fmla="*/ 4854826 h 6975464"/>
              <a:gd name="connsiteX194" fmla="*/ 1514307 w 42118086"/>
              <a:gd name="connsiteY194" fmla="*/ 4870598 h 6975464"/>
              <a:gd name="connsiteX195" fmla="*/ 1857392 w 42118086"/>
              <a:gd name="connsiteY195" fmla="*/ 4604852 h 6975464"/>
              <a:gd name="connsiteX196" fmla="*/ 1857392 w 42118086"/>
              <a:gd name="connsiteY196" fmla="*/ 4951031 h 6975464"/>
              <a:gd name="connsiteX197" fmla="*/ 1514307 w 42118086"/>
              <a:gd name="connsiteY197" fmla="*/ 5217565 h 6975464"/>
              <a:gd name="connsiteX198" fmla="*/ 1514307 w 42118086"/>
              <a:gd name="connsiteY198" fmla="*/ 5234125 h 6975464"/>
              <a:gd name="connsiteX199" fmla="*/ 1870800 w 42118086"/>
              <a:gd name="connsiteY199" fmla="*/ 4957339 h 6975464"/>
              <a:gd name="connsiteX200" fmla="*/ 1870800 w 42118086"/>
              <a:gd name="connsiteY200" fmla="*/ 4588292 h 6975464"/>
              <a:gd name="connsiteX201" fmla="*/ 1497744 w 42118086"/>
              <a:gd name="connsiteY201" fmla="*/ 4304410 h 6975464"/>
              <a:gd name="connsiteX202" fmla="*/ 1497744 w 42118086"/>
              <a:gd name="connsiteY202" fmla="*/ 3956654 h 6975464"/>
              <a:gd name="connsiteX203" fmla="*/ 1484336 w 42118086"/>
              <a:gd name="connsiteY203" fmla="*/ 3966905 h 6975464"/>
              <a:gd name="connsiteX204" fmla="*/ 1484336 w 42118086"/>
              <a:gd name="connsiteY204" fmla="*/ 4299679 h 6975464"/>
              <a:gd name="connsiteX205" fmla="*/ 1122322 w 42118086"/>
              <a:gd name="connsiteY205" fmla="*/ 4579618 h 6975464"/>
              <a:gd name="connsiteX206" fmla="*/ 1122322 w 42118086"/>
              <a:gd name="connsiteY206" fmla="*/ 4233439 h 6975464"/>
              <a:gd name="connsiteX207" fmla="*/ 1484336 w 42118086"/>
              <a:gd name="connsiteY207" fmla="*/ 3952712 h 6975464"/>
              <a:gd name="connsiteX208" fmla="*/ 1484336 w 42118086"/>
              <a:gd name="connsiteY208" fmla="*/ 3966117 h 6975464"/>
              <a:gd name="connsiteX209" fmla="*/ 1497744 w 42118086"/>
              <a:gd name="connsiteY209" fmla="*/ 3955866 h 6975464"/>
              <a:gd name="connsiteX210" fmla="*/ 1497744 w 42118086"/>
              <a:gd name="connsiteY210" fmla="*/ 3936152 h 6975464"/>
              <a:gd name="connsiteX211" fmla="*/ 1136519 w 42118086"/>
              <a:gd name="connsiteY211" fmla="*/ 3661732 h 6975464"/>
              <a:gd name="connsiteX212" fmla="*/ 1125477 w 42118086"/>
              <a:gd name="connsiteY212" fmla="*/ 3669618 h 6975464"/>
              <a:gd name="connsiteX213" fmla="*/ 1135730 w 42118086"/>
              <a:gd name="connsiteY213" fmla="*/ 3660943 h 6975464"/>
              <a:gd name="connsiteX214" fmla="*/ 1119956 w 42118086"/>
              <a:gd name="connsiteY214" fmla="*/ 3649115 h 6975464"/>
              <a:gd name="connsiteX215" fmla="*/ 1119956 w 42118086"/>
              <a:gd name="connsiteY215" fmla="*/ 3637286 h 6975464"/>
              <a:gd name="connsiteX216" fmla="*/ 1106548 w 42118086"/>
              <a:gd name="connsiteY216" fmla="*/ 3637286 h 6975464"/>
              <a:gd name="connsiteX217" fmla="*/ 1106548 w 42118086"/>
              <a:gd name="connsiteY217" fmla="*/ 3649903 h 6975464"/>
              <a:gd name="connsiteX218" fmla="*/ 744534 w 42118086"/>
              <a:gd name="connsiteY218" fmla="*/ 3929843 h 6975464"/>
              <a:gd name="connsiteX219" fmla="*/ 744534 w 42118086"/>
              <a:gd name="connsiteY219" fmla="*/ 3612841 h 6975464"/>
              <a:gd name="connsiteX220" fmla="*/ 744534 w 42118086"/>
              <a:gd name="connsiteY220" fmla="*/ 3584453 h 6975464"/>
              <a:gd name="connsiteX221" fmla="*/ 1106548 w 42118086"/>
              <a:gd name="connsiteY221" fmla="*/ 3303725 h 6975464"/>
              <a:gd name="connsiteX222" fmla="*/ 1106548 w 42118086"/>
              <a:gd name="connsiteY222" fmla="*/ 3617573 h 6975464"/>
              <a:gd name="connsiteX223" fmla="*/ 1106548 w 42118086"/>
              <a:gd name="connsiteY223" fmla="*/ 3636498 h 6975464"/>
              <a:gd name="connsiteX224" fmla="*/ 1119956 w 42118086"/>
              <a:gd name="connsiteY224" fmla="*/ 3636498 h 6975464"/>
              <a:gd name="connsiteX225" fmla="*/ 1119956 w 42118086"/>
              <a:gd name="connsiteY225" fmla="*/ 3298205 h 6975464"/>
              <a:gd name="connsiteX226" fmla="*/ 1392847 w 42118086"/>
              <a:gd name="connsiteY226" fmla="*/ 3086870 h 6975464"/>
              <a:gd name="connsiteX227" fmla="*/ 1483547 w 42118086"/>
              <a:gd name="connsiteY227" fmla="*/ 3016688 h 6975464"/>
              <a:gd name="connsiteX228" fmla="*/ 1862913 w 42118086"/>
              <a:gd name="connsiteY228" fmla="*/ 3304513 h 6975464"/>
              <a:gd name="connsiteX229" fmla="*/ 2243855 w 42118086"/>
              <a:gd name="connsiteY229" fmla="*/ 3008803 h 6975464"/>
              <a:gd name="connsiteX230" fmla="*/ 2243855 w 42118086"/>
              <a:gd name="connsiteY230" fmla="*/ 2891307 h 6975464"/>
              <a:gd name="connsiteX231" fmla="*/ 2231236 w 42118086"/>
              <a:gd name="connsiteY231" fmla="*/ 2896827 h 6975464"/>
              <a:gd name="connsiteX232" fmla="*/ 2231236 w 42118086"/>
              <a:gd name="connsiteY232" fmla="*/ 3002494 h 6975464"/>
              <a:gd name="connsiteX233" fmla="*/ 1869222 w 42118086"/>
              <a:gd name="connsiteY233" fmla="*/ 3283222 h 6975464"/>
              <a:gd name="connsiteX234" fmla="*/ 1869222 w 42118086"/>
              <a:gd name="connsiteY234" fmla="*/ 2937043 h 6975464"/>
              <a:gd name="connsiteX235" fmla="*/ 2231236 w 42118086"/>
              <a:gd name="connsiteY235" fmla="*/ 2656315 h 6975464"/>
              <a:gd name="connsiteX236" fmla="*/ 2231236 w 42118086"/>
              <a:gd name="connsiteY236" fmla="*/ 2896038 h 6975464"/>
              <a:gd name="connsiteX237" fmla="*/ 2243855 w 42118086"/>
              <a:gd name="connsiteY237" fmla="*/ 2890518 h 6975464"/>
              <a:gd name="connsiteX238" fmla="*/ 2243855 w 42118086"/>
              <a:gd name="connsiteY238" fmla="*/ 2639755 h 6975464"/>
              <a:gd name="connsiteX239" fmla="*/ 2113720 w 42118086"/>
              <a:gd name="connsiteY239" fmla="*/ 2540397 h 6975464"/>
              <a:gd name="connsiteX240" fmla="*/ 2100312 w 42118086"/>
              <a:gd name="connsiteY240" fmla="*/ 2546705 h 6975464"/>
              <a:gd name="connsiteX241" fmla="*/ 2226503 w 42118086"/>
              <a:gd name="connsiteY241" fmla="*/ 2642910 h 6975464"/>
              <a:gd name="connsiteX242" fmla="*/ 1862124 w 42118086"/>
              <a:gd name="connsiteY242" fmla="*/ 2925215 h 6975464"/>
              <a:gd name="connsiteX243" fmla="*/ 1496955 w 42118086"/>
              <a:gd name="connsiteY243" fmla="*/ 2647641 h 6975464"/>
              <a:gd name="connsiteX244" fmla="*/ 1861335 w 42118086"/>
              <a:gd name="connsiteY244" fmla="*/ 2365336 h 6975464"/>
              <a:gd name="connsiteX245" fmla="*/ 2099523 w 42118086"/>
              <a:gd name="connsiteY245" fmla="*/ 2545916 h 6975464"/>
              <a:gd name="connsiteX246" fmla="*/ 2112931 w 42118086"/>
              <a:gd name="connsiteY246" fmla="*/ 2539608 h 6975464"/>
              <a:gd name="connsiteX247" fmla="*/ 1870800 w 42118086"/>
              <a:gd name="connsiteY247" fmla="*/ 2355873 h 6975464"/>
              <a:gd name="connsiteX248" fmla="*/ 1870800 w 42118086"/>
              <a:gd name="connsiteY248" fmla="*/ 2176869 h 6975464"/>
              <a:gd name="connsiteX249" fmla="*/ 1857392 w 42118086"/>
              <a:gd name="connsiteY249" fmla="*/ 2178447 h 6975464"/>
              <a:gd name="connsiteX250" fmla="*/ 1857392 w 42118086"/>
              <a:gd name="connsiteY250" fmla="*/ 2350353 h 6975464"/>
              <a:gd name="connsiteX251" fmla="*/ 1496167 w 42118086"/>
              <a:gd name="connsiteY251" fmla="*/ 2631081 h 6975464"/>
              <a:gd name="connsiteX252" fmla="*/ 1496167 w 42118086"/>
              <a:gd name="connsiteY252" fmla="*/ 2284114 h 6975464"/>
              <a:gd name="connsiteX253" fmla="*/ 1666526 w 42118086"/>
              <a:gd name="connsiteY253" fmla="*/ 2152424 h 6975464"/>
              <a:gd name="connsiteX254" fmla="*/ 1658639 w 42118086"/>
              <a:gd name="connsiteY254" fmla="*/ 2141384 h 6975464"/>
              <a:gd name="connsiteX255" fmla="*/ 1666526 w 42118086"/>
              <a:gd name="connsiteY255" fmla="*/ 2151636 h 6975464"/>
              <a:gd name="connsiteX256" fmla="*/ 1857392 w 42118086"/>
              <a:gd name="connsiteY256" fmla="*/ 2003386 h 6975464"/>
              <a:gd name="connsiteX257" fmla="*/ 1857392 w 42118086"/>
              <a:gd name="connsiteY257" fmla="*/ 2177658 h 6975464"/>
              <a:gd name="connsiteX258" fmla="*/ 1870800 w 42118086"/>
              <a:gd name="connsiteY258" fmla="*/ 2176081 h 6975464"/>
              <a:gd name="connsiteX259" fmla="*/ 1870800 w 42118086"/>
              <a:gd name="connsiteY259" fmla="*/ 1998654 h 6975464"/>
              <a:gd name="connsiteX260" fmla="*/ 1886574 w 42118086"/>
              <a:gd name="connsiteY260" fmla="*/ 1986037 h 6975464"/>
              <a:gd name="connsiteX261" fmla="*/ 1886574 w 42118086"/>
              <a:gd name="connsiteY261" fmla="*/ 1969478 h 6975464"/>
              <a:gd name="connsiteX262" fmla="*/ 1869222 w 42118086"/>
              <a:gd name="connsiteY262" fmla="*/ 1982883 h 6975464"/>
              <a:gd name="connsiteX263" fmla="*/ 1869222 w 42118086"/>
              <a:gd name="connsiteY263" fmla="*/ 1636704 h 6975464"/>
              <a:gd name="connsiteX264" fmla="*/ 1886574 w 42118086"/>
              <a:gd name="connsiteY264" fmla="*/ 1623299 h 6975464"/>
              <a:gd name="connsiteX265" fmla="*/ 1886574 w 42118086"/>
              <a:gd name="connsiteY265" fmla="*/ 1606739 h 6975464"/>
              <a:gd name="connsiteX266" fmla="*/ 1862124 w 42118086"/>
              <a:gd name="connsiteY266" fmla="*/ 1625665 h 6975464"/>
              <a:gd name="connsiteX267" fmla="*/ 1496955 w 42118086"/>
              <a:gd name="connsiteY267" fmla="*/ 1348091 h 6975464"/>
              <a:gd name="connsiteX268" fmla="*/ 1861335 w 42118086"/>
              <a:gd name="connsiteY268" fmla="*/ 1064997 h 6975464"/>
              <a:gd name="connsiteX269" fmla="*/ 2226503 w 42118086"/>
              <a:gd name="connsiteY269" fmla="*/ 1342571 h 6975464"/>
              <a:gd name="connsiteX270" fmla="*/ 1887362 w 42118086"/>
              <a:gd name="connsiteY270" fmla="*/ 1605951 h 6975464"/>
              <a:gd name="connsiteX271" fmla="*/ 1887362 w 42118086"/>
              <a:gd name="connsiteY271" fmla="*/ 1622510 h 6975464"/>
              <a:gd name="connsiteX272" fmla="*/ 2231236 w 42118086"/>
              <a:gd name="connsiteY272" fmla="*/ 1355976 h 6975464"/>
              <a:gd name="connsiteX273" fmla="*/ 2231236 w 42118086"/>
              <a:gd name="connsiteY273" fmla="*/ 1702944 h 6975464"/>
              <a:gd name="connsiteX274" fmla="*/ 1887362 w 42118086"/>
              <a:gd name="connsiteY274" fmla="*/ 1968689 h 6975464"/>
              <a:gd name="connsiteX275" fmla="*/ 1887362 w 42118086"/>
              <a:gd name="connsiteY275" fmla="*/ 1985249 h 6975464"/>
              <a:gd name="connsiteX276" fmla="*/ 2243855 w 42118086"/>
              <a:gd name="connsiteY276" fmla="*/ 1709252 h 6975464"/>
              <a:gd name="connsiteX277" fmla="*/ 2243855 w 42118086"/>
              <a:gd name="connsiteY277" fmla="*/ 1339416 h 6975464"/>
              <a:gd name="connsiteX278" fmla="*/ 1870800 w 42118086"/>
              <a:gd name="connsiteY278" fmla="*/ 1056323 h 6975464"/>
              <a:gd name="connsiteX279" fmla="*/ 1870800 w 42118086"/>
              <a:gd name="connsiteY279" fmla="*/ 707778 h 6975464"/>
              <a:gd name="connsiteX280" fmla="*/ 1857392 w 42118086"/>
              <a:gd name="connsiteY280" fmla="*/ 718030 h 6975464"/>
              <a:gd name="connsiteX281" fmla="*/ 1857392 w 42118086"/>
              <a:gd name="connsiteY281" fmla="*/ 1050803 h 6975464"/>
              <a:gd name="connsiteX282" fmla="*/ 1496167 w 42118086"/>
              <a:gd name="connsiteY282" fmla="*/ 1331531 h 6975464"/>
              <a:gd name="connsiteX283" fmla="*/ 1496167 w 42118086"/>
              <a:gd name="connsiteY283" fmla="*/ 985352 h 6975464"/>
              <a:gd name="connsiteX284" fmla="*/ 1857392 w 42118086"/>
              <a:gd name="connsiteY284" fmla="*/ 704624 h 6975464"/>
              <a:gd name="connsiteX285" fmla="*/ 1857392 w 42118086"/>
              <a:gd name="connsiteY285" fmla="*/ 717241 h 6975464"/>
              <a:gd name="connsiteX286" fmla="*/ 1870800 w 42118086"/>
              <a:gd name="connsiteY286" fmla="*/ 706990 h 6975464"/>
              <a:gd name="connsiteX287" fmla="*/ 1870800 w 42118086"/>
              <a:gd name="connsiteY287" fmla="*/ 688064 h 6975464"/>
              <a:gd name="connsiteX288" fmla="*/ 1509574 w 42118086"/>
              <a:gd name="connsiteY288" fmla="*/ 412856 h 6975464"/>
              <a:gd name="connsiteX289" fmla="*/ 1498533 w 42118086"/>
              <a:gd name="connsiteY289" fmla="*/ 421530 h 6975464"/>
              <a:gd name="connsiteX290" fmla="*/ 1508786 w 42118086"/>
              <a:gd name="connsiteY290" fmla="*/ 412856 h 6975464"/>
              <a:gd name="connsiteX291" fmla="*/ 1493012 w 42118086"/>
              <a:gd name="connsiteY291" fmla="*/ 401028 h 6975464"/>
              <a:gd name="connsiteX292" fmla="*/ 1493012 w 42118086"/>
              <a:gd name="connsiteY292" fmla="*/ 119417 h 6975464"/>
              <a:gd name="connsiteX293" fmla="*/ 1493012 w 42118086"/>
              <a:gd name="connsiteY293" fmla="*/ 117464 h 6975464"/>
              <a:gd name="connsiteX294" fmla="*/ 1398859 w 42118086"/>
              <a:gd name="connsiteY294" fmla="*/ 117464 h 6975464"/>
              <a:gd name="connsiteX295" fmla="*/ 1480393 w 42118086"/>
              <a:gd name="connsiteY295" fmla="*/ 117464 h 6975464"/>
              <a:gd name="connsiteX296" fmla="*/ 1480393 w 42118086"/>
              <a:gd name="connsiteY296" fmla="*/ 201868 h 6975464"/>
              <a:gd name="connsiteX297" fmla="*/ 1480393 w 42118086"/>
              <a:gd name="connsiteY297" fmla="*/ 401028 h 6975464"/>
              <a:gd name="connsiteX298" fmla="*/ 1118379 w 42118086"/>
              <a:gd name="connsiteY298" fmla="*/ 681756 h 6975464"/>
              <a:gd name="connsiteX299" fmla="*/ 1118379 w 42118086"/>
              <a:gd name="connsiteY299" fmla="*/ 335577 h 6975464"/>
              <a:gd name="connsiteX300" fmla="*/ 1379242 w 42118086"/>
              <a:gd name="connsiteY300" fmla="*/ 132719 h 6975464"/>
              <a:gd name="connsiteX301" fmla="*/ 1398859 w 42118086"/>
              <a:gd name="connsiteY301" fmla="*/ 117464 h 6975464"/>
              <a:gd name="connsiteX302" fmla="*/ 840168 w 42118086"/>
              <a:gd name="connsiteY302" fmla="*/ 117464 h 6975464"/>
              <a:gd name="connsiteX303" fmla="*/ 1377550 w 42118086"/>
              <a:gd name="connsiteY303" fmla="*/ 117464 h 6975464"/>
              <a:gd name="connsiteX304" fmla="*/ 1301753 w 42118086"/>
              <a:gd name="connsiteY304" fmla="*/ 176360 h 6975464"/>
              <a:gd name="connsiteX305" fmla="*/ 1112069 w 42118086"/>
              <a:gd name="connsiteY305" fmla="*/ 323748 h 6975464"/>
              <a:gd name="connsiteX306" fmla="*/ 857417 w 42118086"/>
              <a:gd name="connsiteY306" fmla="*/ 130551 h 6975464"/>
              <a:gd name="connsiteX307" fmla="*/ 840168 w 42118086"/>
              <a:gd name="connsiteY307" fmla="*/ 117464 h 6975464"/>
              <a:gd name="connsiteX0" fmla="*/ 738225 w 42198532"/>
              <a:gd name="connsiteY0" fmla="*/ 6911396 h 6975464"/>
              <a:gd name="connsiteX1" fmla="*/ 814828 w 42198532"/>
              <a:gd name="connsiteY1" fmla="*/ 6969750 h 6975464"/>
              <a:gd name="connsiteX2" fmla="*/ 822329 w 42198532"/>
              <a:gd name="connsiteY2" fmla="*/ 6975464 h 6975464"/>
              <a:gd name="connsiteX3" fmla="*/ 655724 w 42198532"/>
              <a:gd name="connsiteY3" fmla="*/ 6975464 h 6975464"/>
              <a:gd name="connsiteX4" fmla="*/ 656989 w 42198532"/>
              <a:gd name="connsiteY4" fmla="*/ 6974481 h 6975464"/>
              <a:gd name="connsiteX5" fmla="*/ 738225 w 42198532"/>
              <a:gd name="connsiteY5" fmla="*/ 6911396 h 6975464"/>
              <a:gd name="connsiteX6" fmla="*/ 733493 w 42198532"/>
              <a:gd name="connsiteY6" fmla="*/ 6551812 h 6975464"/>
              <a:gd name="connsiteX7" fmla="*/ 733493 w 42198532"/>
              <a:gd name="connsiteY7" fmla="*/ 6897991 h 6975464"/>
              <a:gd name="connsiteX8" fmla="*/ 639637 w 42198532"/>
              <a:gd name="connsiteY8" fmla="*/ 6970539 h 6975464"/>
              <a:gd name="connsiteX9" fmla="*/ 656989 w 42198532"/>
              <a:gd name="connsiteY9" fmla="*/ 6974481 h 6975464"/>
              <a:gd name="connsiteX10" fmla="*/ 638848 w 42198532"/>
              <a:gd name="connsiteY10" fmla="*/ 6971327 h 6975464"/>
              <a:gd name="connsiteX11" fmla="*/ 633515 w 42198532"/>
              <a:gd name="connsiteY11" fmla="*/ 6975464 h 6975464"/>
              <a:gd name="connsiteX12" fmla="*/ 371479 w 42198532"/>
              <a:gd name="connsiteY12" fmla="*/ 6975464 h 6975464"/>
              <a:gd name="connsiteX13" fmla="*/ 371479 w 42198532"/>
              <a:gd name="connsiteY13" fmla="*/ 6917056 h 6975464"/>
              <a:gd name="connsiteX14" fmla="*/ 371479 w 42198532"/>
              <a:gd name="connsiteY14" fmla="*/ 6832540 h 6975464"/>
              <a:gd name="connsiteX15" fmla="*/ 733493 w 42198532"/>
              <a:gd name="connsiteY15" fmla="*/ 6551812 h 6975464"/>
              <a:gd name="connsiteX16" fmla="*/ 1106548 w 42198532"/>
              <a:gd name="connsiteY16" fmla="*/ 5904403 h 6975464"/>
              <a:gd name="connsiteX17" fmla="*/ 1106548 w 42198532"/>
              <a:gd name="connsiteY17" fmla="*/ 6251370 h 6975464"/>
              <a:gd name="connsiteX18" fmla="*/ 1012693 w 42198532"/>
              <a:gd name="connsiteY18" fmla="*/ 6323918 h 6975464"/>
              <a:gd name="connsiteX19" fmla="*/ 744534 w 42198532"/>
              <a:gd name="connsiteY19" fmla="*/ 6531309 h 6975464"/>
              <a:gd name="connsiteX20" fmla="*/ 744534 w 42198532"/>
              <a:gd name="connsiteY20" fmla="*/ 6185131 h 6975464"/>
              <a:gd name="connsiteX21" fmla="*/ 873093 w 42198532"/>
              <a:gd name="connsiteY21" fmla="*/ 6085772 h 6975464"/>
              <a:gd name="connsiteX22" fmla="*/ 1106548 w 42198532"/>
              <a:gd name="connsiteY22" fmla="*/ 5904403 h 6975464"/>
              <a:gd name="connsiteX23" fmla="*/ 1739875 w 42198532"/>
              <a:gd name="connsiteY23" fmla="*/ 5788484 h 6975464"/>
              <a:gd name="connsiteX24" fmla="*/ 1726467 w 42198532"/>
              <a:gd name="connsiteY24" fmla="*/ 5794792 h 6975464"/>
              <a:gd name="connsiteX25" fmla="*/ 1739875 w 42198532"/>
              <a:gd name="connsiteY25" fmla="*/ 5788484 h 6975464"/>
              <a:gd name="connsiteX26" fmla="*/ 1488280 w 42198532"/>
              <a:gd name="connsiteY26" fmla="*/ 5613423 h 6975464"/>
              <a:gd name="connsiteX27" fmla="*/ 1726467 w 42198532"/>
              <a:gd name="connsiteY27" fmla="*/ 5794792 h 6975464"/>
              <a:gd name="connsiteX28" fmla="*/ 1853448 w 42198532"/>
              <a:gd name="connsiteY28" fmla="*/ 5890997 h 6975464"/>
              <a:gd name="connsiteX29" fmla="*/ 1489068 w 42198532"/>
              <a:gd name="connsiteY29" fmla="*/ 6174091 h 6975464"/>
              <a:gd name="connsiteX30" fmla="*/ 1123900 w 42198532"/>
              <a:gd name="connsiteY30" fmla="*/ 5896517 h 6975464"/>
              <a:gd name="connsiteX31" fmla="*/ 1488280 w 42198532"/>
              <a:gd name="connsiteY31" fmla="*/ 5613423 h 6975464"/>
              <a:gd name="connsiteX32" fmla="*/ 359648 w 42198532"/>
              <a:gd name="connsiteY32" fmla="*/ 4965225 h 6975464"/>
              <a:gd name="connsiteX33" fmla="*/ 724817 w 42198532"/>
              <a:gd name="connsiteY33" fmla="*/ 5242799 h 6975464"/>
              <a:gd name="connsiteX34" fmla="*/ 487418 w 42198532"/>
              <a:gd name="connsiteY34" fmla="*/ 5426534 h 6975464"/>
              <a:gd name="connsiteX35" fmla="*/ 493727 w 42198532"/>
              <a:gd name="connsiteY35" fmla="*/ 5437574 h 6975464"/>
              <a:gd name="connsiteX36" fmla="*/ 733493 w 42198532"/>
              <a:gd name="connsiteY36" fmla="*/ 5252262 h 6975464"/>
              <a:gd name="connsiteX37" fmla="*/ 733493 w 42198532"/>
              <a:gd name="connsiteY37" fmla="*/ 5598440 h 6975464"/>
              <a:gd name="connsiteX38" fmla="*/ 633328 w 42198532"/>
              <a:gd name="connsiteY38" fmla="*/ 5675720 h 6975464"/>
              <a:gd name="connsiteX39" fmla="*/ 641215 w 42198532"/>
              <a:gd name="connsiteY39" fmla="*/ 5688337 h 6975464"/>
              <a:gd name="connsiteX40" fmla="*/ 737436 w 42198532"/>
              <a:gd name="connsiteY40" fmla="*/ 5613423 h 6975464"/>
              <a:gd name="connsiteX41" fmla="*/ 1102605 w 42198532"/>
              <a:gd name="connsiteY41" fmla="*/ 5890997 h 6975464"/>
              <a:gd name="connsiteX42" fmla="*/ 866783 w 42198532"/>
              <a:gd name="connsiteY42" fmla="*/ 6073943 h 6975464"/>
              <a:gd name="connsiteX43" fmla="*/ 873093 w 42198532"/>
              <a:gd name="connsiteY43" fmla="*/ 6085772 h 6975464"/>
              <a:gd name="connsiteX44" fmla="*/ 865994 w 42198532"/>
              <a:gd name="connsiteY44" fmla="*/ 6074732 h 6975464"/>
              <a:gd name="connsiteX45" fmla="*/ 738225 w 42198532"/>
              <a:gd name="connsiteY45" fmla="*/ 6174091 h 6975464"/>
              <a:gd name="connsiteX46" fmla="*/ 373056 w 42198532"/>
              <a:gd name="connsiteY46" fmla="*/ 5896517 h 6975464"/>
              <a:gd name="connsiteX47" fmla="*/ 640426 w 42198532"/>
              <a:gd name="connsiteY47" fmla="*/ 5689125 h 6975464"/>
              <a:gd name="connsiteX48" fmla="*/ 633328 w 42198532"/>
              <a:gd name="connsiteY48" fmla="*/ 5676508 h 6975464"/>
              <a:gd name="connsiteX49" fmla="*/ 371479 w 42198532"/>
              <a:gd name="connsiteY49" fmla="*/ 5879169 h 6975464"/>
              <a:gd name="connsiteX50" fmla="*/ 371479 w 42198532"/>
              <a:gd name="connsiteY50" fmla="*/ 5532990 h 6975464"/>
              <a:gd name="connsiteX51" fmla="*/ 493727 w 42198532"/>
              <a:gd name="connsiteY51" fmla="*/ 5438362 h 6975464"/>
              <a:gd name="connsiteX52" fmla="*/ 486629 w 42198532"/>
              <a:gd name="connsiteY52" fmla="*/ 5426534 h 6975464"/>
              <a:gd name="connsiteX53" fmla="*/ 365169 w 42198532"/>
              <a:gd name="connsiteY53" fmla="*/ 5521161 h 6975464"/>
              <a:gd name="connsiteX54" fmla="*/ 0 w 42198532"/>
              <a:gd name="connsiteY54" fmla="*/ 5243588 h 6975464"/>
              <a:gd name="connsiteX55" fmla="*/ 359648 w 42198532"/>
              <a:gd name="connsiteY55" fmla="*/ 4965225 h 6975464"/>
              <a:gd name="connsiteX56" fmla="*/ 1106548 w 42198532"/>
              <a:gd name="connsiteY56" fmla="*/ 4604852 h 6975464"/>
              <a:gd name="connsiteX57" fmla="*/ 1106548 w 42198532"/>
              <a:gd name="connsiteY57" fmla="*/ 4951031 h 6975464"/>
              <a:gd name="connsiteX58" fmla="*/ 1018214 w 42198532"/>
              <a:gd name="connsiteY58" fmla="*/ 5019636 h 6975464"/>
              <a:gd name="connsiteX59" fmla="*/ 1025312 w 42198532"/>
              <a:gd name="connsiteY59" fmla="*/ 5030676 h 6975464"/>
              <a:gd name="connsiteX60" fmla="*/ 1017425 w 42198532"/>
              <a:gd name="connsiteY60" fmla="*/ 5020424 h 6975464"/>
              <a:gd name="connsiteX61" fmla="*/ 744534 w 42198532"/>
              <a:gd name="connsiteY61" fmla="*/ 5231759 h 6975464"/>
              <a:gd name="connsiteX62" fmla="*/ 744534 w 42198532"/>
              <a:gd name="connsiteY62" fmla="*/ 4885580 h 6975464"/>
              <a:gd name="connsiteX63" fmla="*/ 856530 w 42198532"/>
              <a:gd name="connsiteY63" fmla="*/ 4798050 h 6975464"/>
              <a:gd name="connsiteX64" fmla="*/ 849432 w 42198532"/>
              <a:gd name="connsiteY64" fmla="*/ 4787799 h 6975464"/>
              <a:gd name="connsiteX65" fmla="*/ 857319 w 42198532"/>
              <a:gd name="connsiteY65" fmla="*/ 4798050 h 6975464"/>
              <a:gd name="connsiteX66" fmla="*/ 1106548 w 42198532"/>
              <a:gd name="connsiteY66" fmla="*/ 4604852 h 6975464"/>
              <a:gd name="connsiteX67" fmla="*/ 737436 w 42198532"/>
              <a:gd name="connsiteY67" fmla="*/ 4313873 h 6975464"/>
              <a:gd name="connsiteX68" fmla="*/ 1102605 w 42198532"/>
              <a:gd name="connsiteY68" fmla="*/ 4591447 h 6975464"/>
              <a:gd name="connsiteX69" fmla="*/ 849432 w 42198532"/>
              <a:gd name="connsiteY69" fmla="*/ 4787799 h 6975464"/>
              <a:gd name="connsiteX70" fmla="*/ 738225 w 42198532"/>
              <a:gd name="connsiteY70" fmla="*/ 4873752 h 6975464"/>
              <a:gd name="connsiteX71" fmla="*/ 373056 w 42198532"/>
              <a:gd name="connsiteY71" fmla="*/ 4596178 h 6975464"/>
              <a:gd name="connsiteX72" fmla="*/ 737436 w 42198532"/>
              <a:gd name="connsiteY72" fmla="*/ 4313873 h 6975464"/>
              <a:gd name="connsiteX73" fmla="*/ 1115224 w 42198532"/>
              <a:gd name="connsiteY73" fmla="*/ 3661732 h 6975464"/>
              <a:gd name="connsiteX74" fmla="*/ 1125477 w 42198532"/>
              <a:gd name="connsiteY74" fmla="*/ 3669618 h 6975464"/>
              <a:gd name="connsiteX75" fmla="*/ 1480393 w 42198532"/>
              <a:gd name="connsiteY75" fmla="*/ 3939306 h 6975464"/>
              <a:gd name="connsiteX76" fmla="*/ 1116013 w 42198532"/>
              <a:gd name="connsiteY76" fmla="*/ 4222399 h 6975464"/>
              <a:gd name="connsiteX77" fmla="*/ 750844 w 42198532"/>
              <a:gd name="connsiteY77" fmla="*/ 3944037 h 6975464"/>
              <a:gd name="connsiteX78" fmla="*/ 1115224 w 42198532"/>
              <a:gd name="connsiteY78" fmla="*/ 3661732 h 6975464"/>
              <a:gd name="connsiteX79" fmla="*/ 1480393 w 42198532"/>
              <a:gd name="connsiteY79" fmla="*/ 2656315 h 6975464"/>
              <a:gd name="connsiteX80" fmla="*/ 1480393 w 42198532"/>
              <a:gd name="connsiteY80" fmla="*/ 3002494 h 6975464"/>
              <a:gd name="connsiteX81" fmla="*/ 1386537 w 42198532"/>
              <a:gd name="connsiteY81" fmla="*/ 3075042 h 6975464"/>
              <a:gd name="connsiteX82" fmla="*/ 1392847 w 42198532"/>
              <a:gd name="connsiteY82" fmla="*/ 3086870 h 6975464"/>
              <a:gd name="connsiteX83" fmla="*/ 1385748 w 42198532"/>
              <a:gd name="connsiteY83" fmla="*/ 3075830 h 6975464"/>
              <a:gd name="connsiteX84" fmla="*/ 1118379 w 42198532"/>
              <a:gd name="connsiteY84" fmla="*/ 3283222 h 6975464"/>
              <a:gd name="connsiteX85" fmla="*/ 1118379 w 42198532"/>
              <a:gd name="connsiteY85" fmla="*/ 2937043 h 6975464"/>
              <a:gd name="connsiteX86" fmla="*/ 1246148 w 42198532"/>
              <a:gd name="connsiteY86" fmla="*/ 2837685 h 6975464"/>
              <a:gd name="connsiteX87" fmla="*/ 1239839 w 42198532"/>
              <a:gd name="connsiteY87" fmla="*/ 2825856 h 6975464"/>
              <a:gd name="connsiteX88" fmla="*/ 1246937 w 42198532"/>
              <a:gd name="connsiteY88" fmla="*/ 2836896 h 6975464"/>
              <a:gd name="connsiteX89" fmla="*/ 1480393 w 42198532"/>
              <a:gd name="connsiteY89" fmla="*/ 2656315 h 6975464"/>
              <a:gd name="connsiteX90" fmla="*/ 732704 w 42198532"/>
              <a:gd name="connsiteY90" fmla="*/ 1716349 h 6975464"/>
              <a:gd name="connsiteX91" fmla="*/ 1097873 w 42198532"/>
              <a:gd name="connsiteY91" fmla="*/ 1993923 h 6975464"/>
              <a:gd name="connsiteX92" fmla="*/ 860473 w 42198532"/>
              <a:gd name="connsiteY92" fmla="*/ 2177658 h 6975464"/>
              <a:gd name="connsiteX93" fmla="*/ 867572 w 42198532"/>
              <a:gd name="connsiteY93" fmla="*/ 2189486 h 6975464"/>
              <a:gd name="connsiteX94" fmla="*/ 1106548 w 42198532"/>
              <a:gd name="connsiteY94" fmla="*/ 2003386 h 6975464"/>
              <a:gd name="connsiteX95" fmla="*/ 1106548 w 42198532"/>
              <a:gd name="connsiteY95" fmla="*/ 2350353 h 6975464"/>
              <a:gd name="connsiteX96" fmla="*/ 1007172 w 42198532"/>
              <a:gd name="connsiteY96" fmla="*/ 2427632 h 6975464"/>
              <a:gd name="connsiteX97" fmla="*/ 1014270 w 42198532"/>
              <a:gd name="connsiteY97" fmla="*/ 2440249 h 6975464"/>
              <a:gd name="connsiteX98" fmla="*/ 1110492 w 42198532"/>
              <a:gd name="connsiteY98" fmla="*/ 2365336 h 6975464"/>
              <a:gd name="connsiteX99" fmla="*/ 1475660 w 42198532"/>
              <a:gd name="connsiteY99" fmla="*/ 2642910 h 6975464"/>
              <a:gd name="connsiteX100" fmla="*/ 1239839 w 42198532"/>
              <a:gd name="connsiteY100" fmla="*/ 2825856 h 6975464"/>
              <a:gd name="connsiteX101" fmla="*/ 1112069 w 42198532"/>
              <a:gd name="connsiteY101" fmla="*/ 2925215 h 6975464"/>
              <a:gd name="connsiteX102" fmla="*/ 746900 w 42198532"/>
              <a:gd name="connsiteY102" fmla="*/ 2647641 h 6975464"/>
              <a:gd name="connsiteX103" fmla="*/ 1013481 w 42198532"/>
              <a:gd name="connsiteY103" fmla="*/ 2440249 h 6975464"/>
              <a:gd name="connsiteX104" fmla="*/ 1006383 w 42198532"/>
              <a:gd name="connsiteY104" fmla="*/ 2427632 h 6975464"/>
              <a:gd name="connsiteX105" fmla="*/ 744534 w 42198532"/>
              <a:gd name="connsiteY105" fmla="*/ 2631081 h 6975464"/>
              <a:gd name="connsiteX106" fmla="*/ 744534 w 42198532"/>
              <a:gd name="connsiteY106" fmla="*/ 2284114 h 6975464"/>
              <a:gd name="connsiteX107" fmla="*/ 866783 w 42198532"/>
              <a:gd name="connsiteY107" fmla="*/ 2189486 h 6975464"/>
              <a:gd name="connsiteX108" fmla="*/ 860473 w 42198532"/>
              <a:gd name="connsiteY108" fmla="*/ 2178447 h 6975464"/>
              <a:gd name="connsiteX109" fmla="*/ 738225 w 42198532"/>
              <a:gd name="connsiteY109" fmla="*/ 2273074 h 6975464"/>
              <a:gd name="connsiteX110" fmla="*/ 373056 w 42198532"/>
              <a:gd name="connsiteY110" fmla="*/ 1995500 h 6975464"/>
              <a:gd name="connsiteX111" fmla="*/ 732704 w 42198532"/>
              <a:gd name="connsiteY111" fmla="*/ 1716349 h 6975464"/>
              <a:gd name="connsiteX112" fmla="*/ 1480393 w 42198532"/>
              <a:gd name="connsiteY112" fmla="*/ 1355976 h 6975464"/>
              <a:gd name="connsiteX113" fmla="*/ 1480393 w 42198532"/>
              <a:gd name="connsiteY113" fmla="*/ 1702944 h 6975464"/>
              <a:gd name="connsiteX114" fmla="*/ 1391269 w 42198532"/>
              <a:gd name="connsiteY114" fmla="*/ 1771549 h 6975464"/>
              <a:gd name="connsiteX115" fmla="*/ 1399156 w 42198532"/>
              <a:gd name="connsiteY115" fmla="*/ 1781800 h 6975464"/>
              <a:gd name="connsiteX116" fmla="*/ 1483547 w 42198532"/>
              <a:gd name="connsiteY116" fmla="*/ 1716349 h 6975464"/>
              <a:gd name="connsiteX117" fmla="*/ 1848716 w 42198532"/>
              <a:gd name="connsiteY117" fmla="*/ 1993923 h 6975464"/>
              <a:gd name="connsiteX118" fmla="*/ 1658639 w 42198532"/>
              <a:gd name="connsiteY118" fmla="*/ 2141384 h 6975464"/>
              <a:gd name="connsiteX119" fmla="*/ 1489068 w 42198532"/>
              <a:gd name="connsiteY119" fmla="*/ 2273074 h 6975464"/>
              <a:gd name="connsiteX120" fmla="*/ 1123900 w 42198532"/>
              <a:gd name="connsiteY120" fmla="*/ 1995500 h 6975464"/>
              <a:gd name="connsiteX121" fmla="*/ 1398368 w 42198532"/>
              <a:gd name="connsiteY121" fmla="*/ 1782588 h 6975464"/>
              <a:gd name="connsiteX122" fmla="*/ 1390481 w 42198532"/>
              <a:gd name="connsiteY122" fmla="*/ 1771549 h 6975464"/>
              <a:gd name="connsiteX123" fmla="*/ 1118379 w 42198532"/>
              <a:gd name="connsiteY123" fmla="*/ 1982883 h 6975464"/>
              <a:gd name="connsiteX124" fmla="*/ 1118379 w 42198532"/>
              <a:gd name="connsiteY124" fmla="*/ 1636704 h 6975464"/>
              <a:gd name="connsiteX125" fmla="*/ 1230374 w 42198532"/>
              <a:gd name="connsiteY125" fmla="*/ 1549963 h 6975464"/>
              <a:gd name="connsiteX126" fmla="*/ 1480393 w 42198532"/>
              <a:gd name="connsiteY126" fmla="*/ 1355976 h 6975464"/>
              <a:gd name="connsiteX127" fmla="*/ 1110492 w 42198532"/>
              <a:gd name="connsiteY127" fmla="*/ 1064997 h 6975464"/>
              <a:gd name="connsiteX128" fmla="*/ 1475660 w 42198532"/>
              <a:gd name="connsiteY128" fmla="*/ 1342571 h 6975464"/>
              <a:gd name="connsiteX129" fmla="*/ 1223276 w 42198532"/>
              <a:gd name="connsiteY129" fmla="*/ 1538923 h 6975464"/>
              <a:gd name="connsiteX130" fmla="*/ 1230374 w 42198532"/>
              <a:gd name="connsiteY130" fmla="*/ 1549963 h 6975464"/>
              <a:gd name="connsiteX131" fmla="*/ 1222487 w 42198532"/>
              <a:gd name="connsiteY131" fmla="*/ 1539711 h 6975464"/>
              <a:gd name="connsiteX132" fmla="*/ 1112069 w 42198532"/>
              <a:gd name="connsiteY132" fmla="*/ 1625665 h 6975464"/>
              <a:gd name="connsiteX133" fmla="*/ 746900 w 42198532"/>
              <a:gd name="connsiteY133" fmla="*/ 1348091 h 6975464"/>
              <a:gd name="connsiteX134" fmla="*/ 1110492 w 42198532"/>
              <a:gd name="connsiteY134" fmla="*/ 1064997 h 6975464"/>
              <a:gd name="connsiteX135" fmla="*/ 1488280 w 42198532"/>
              <a:gd name="connsiteY135" fmla="*/ 413645 h 6975464"/>
              <a:gd name="connsiteX136" fmla="*/ 1498533 w 42198532"/>
              <a:gd name="connsiteY136" fmla="*/ 421530 h 6975464"/>
              <a:gd name="connsiteX137" fmla="*/ 1853448 w 42198532"/>
              <a:gd name="connsiteY137" fmla="*/ 691218 h 6975464"/>
              <a:gd name="connsiteX138" fmla="*/ 1489068 w 42198532"/>
              <a:gd name="connsiteY138" fmla="*/ 973524 h 6975464"/>
              <a:gd name="connsiteX139" fmla="*/ 1123900 w 42198532"/>
              <a:gd name="connsiteY139" fmla="*/ 695950 h 6975464"/>
              <a:gd name="connsiteX140" fmla="*/ 1488280 w 42198532"/>
              <a:gd name="connsiteY140" fmla="*/ 413645 h 6975464"/>
              <a:gd name="connsiteX141" fmla="*/ 1493012 w 42198532"/>
              <a:gd name="connsiteY141" fmla="*/ 117464 h 6975464"/>
              <a:gd name="connsiteX142" fmla="*/ 42118086 w 42198532"/>
              <a:gd name="connsiteY142" fmla="*/ 0 h 6975464"/>
              <a:gd name="connsiteX143" fmla="*/ 42198532 w 42198532"/>
              <a:gd name="connsiteY143" fmla="*/ 6799268 h 6975464"/>
              <a:gd name="connsiteX144" fmla="*/ 843615 w 42198532"/>
              <a:gd name="connsiteY144" fmla="*/ 6975464 h 6975464"/>
              <a:gd name="connsiteX145" fmla="*/ 810785 w 42198532"/>
              <a:gd name="connsiteY145" fmla="*/ 6950504 h 6975464"/>
              <a:gd name="connsiteX146" fmla="*/ 746900 w 42198532"/>
              <a:gd name="connsiteY146" fmla="*/ 6901934 h 6975464"/>
              <a:gd name="connsiteX147" fmla="*/ 746900 w 42198532"/>
              <a:gd name="connsiteY147" fmla="*/ 6547081 h 6975464"/>
              <a:gd name="connsiteX148" fmla="*/ 1019002 w 42198532"/>
              <a:gd name="connsiteY148" fmla="*/ 6335746 h 6975464"/>
              <a:gd name="connsiteX149" fmla="*/ 1012693 w 42198532"/>
              <a:gd name="connsiteY149" fmla="*/ 6323918 h 6975464"/>
              <a:gd name="connsiteX150" fmla="*/ 1019791 w 42198532"/>
              <a:gd name="connsiteY150" fmla="*/ 6334957 h 6975464"/>
              <a:gd name="connsiteX151" fmla="*/ 1110492 w 42198532"/>
              <a:gd name="connsiteY151" fmla="*/ 6264775 h 6975464"/>
              <a:gd name="connsiteX152" fmla="*/ 1489068 w 42198532"/>
              <a:gd name="connsiteY152" fmla="*/ 6553389 h 6975464"/>
              <a:gd name="connsiteX153" fmla="*/ 1870800 w 42198532"/>
              <a:gd name="connsiteY153" fmla="*/ 6257678 h 6975464"/>
              <a:gd name="connsiteX154" fmla="*/ 1870800 w 42198532"/>
              <a:gd name="connsiteY154" fmla="*/ 6139394 h 6975464"/>
              <a:gd name="connsiteX155" fmla="*/ 1857392 w 42198532"/>
              <a:gd name="connsiteY155" fmla="*/ 6144914 h 6975464"/>
              <a:gd name="connsiteX156" fmla="*/ 1857392 w 42198532"/>
              <a:gd name="connsiteY156" fmla="*/ 6251370 h 6975464"/>
              <a:gd name="connsiteX157" fmla="*/ 1495378 w 42198532"/>
              <a:gd name="connsiteY157" fmla="*/ 6531309 h 6975464"/>
              <a:gd name="connsiteX158" fmla="*/ 1495378 w 42198532"/>
              <a:gd name="connsiteY158" fmla="*/ 6185131 h 6975464"/>
              <a:gd name="connsiteX159" fmla="*/ 1857392 w 42198532"/>
              <a:gd name="connsiteY159" fmla="*/ 5904403 h 6975464"/>
              <a:gd name="connsiteX160" fmla="*/ 1857392 w 42198532"/>
              <a:gd name="connsiteY160" fmla="*/ 6144125 h 6975464"/>
              <a:gd name="connsiteX161" fmla="*/ 1870800 w 42198532"/>
              <a:gd name="connsiteY161" fmla="*/ 6138605 h 6975464"/>
              <a:gd name="connsiteX162" fmla="*/ 1870800 w 42198532"/>
              <a:gd name="connsiteY162" fmla="*/ 5887843 h 6975464"/>
              <a:gd name="connsiteX163" fmla="*/ 1739875 w 42198532"/>
              <a:gd name="connsiteY163" fmla="*/ 5788484 h 6975464"/>
              <a:gd name="connsiteX164" fmla="*/ 1497744 w 42198532"/>
              <a:gd name="connsiteY164" fmla="*/ 5604749 h 6975464"/>
              <a:gd name="connsiteX165" fmla="*/ 1497744 w 42198532"/>
              <a:gd name="connsiteY165" fmla="*/ 5424957 h 6975464"/>
              <a:gd name="connsiteX166" fmla="*/ 1484336 w 42198532"/>
              <a:gd name="connsiteY166" fmla="*/ 5427322 h 6975464"/>
              <a:gd name="connsiteX167" fmla="*/ 1484336 w 42198532"/>
              <a:gd name="connsiteY167" fmla="*/ 5598440 h 6975464"/>
              <a:gd name="connsiteX168" fmla="*/ 1122322 w 42198532"/>
              <a:gd name="connsiteY168" fmla="*/ 5879169 h 6975464"/>
              <a:gd name="connsiteX169" fmla="*/ 1122322 w 42198532"/>
              <a:gd name="connsiteY169" fmla="*/ 5532990 h 6975464"/>
              <a:gd name="connsiteX170" fmla="*/ 1292682 w 42198532"/>
              <a:gd name="connsiteY170" fmla="*/ 5400511 h 6975464"/>
              <a:gd name="connsiteX171" fmla="*/ 1285583 w 42198532"/>
              <a:gd name="connsiteY171" fmla="*/ 5390260 h 6975464"/>
              <a:gd name="connsiteX172" fmla="*/ 1116013 w 42198532"/>
              <a:gd name="connsiteY172" fmla="*/ 5521161 h 6975464"/>
              <a:gd name="connsiteX173" fmla="*/ 750844 w 42198532"/>
              <a:gd name="connsiteY173" fmla="*/ 5243588 h 6975464"/>
              <a:gd name="connsiteX174" fmla="*/ 1025312 w 42198532"/>
              <a:gd name="connsiteY174" fmla="*/ 5030676 h 6975464"/>
              <a:gd name="connsiteX175" fmla="*/ 1110492 w 42198532"/>
              <a:gd name="connsiteY175" fmla="*/ 4965225 h 6975464"/>
              <a:gd name="connsiteX176" fmla="*/ 1475660 w 42198532"/>
              <a:gd name="connsiteY176" fmla="*/ 5242799 h 6975464"/>
              <a:gd name="connsiteX177" fmla="*/ 1285583 w 42198532"/>
              <a:gd name="connsiteY177" fmla="*/ 5389472 h 6975464"/>
              <a:gd name="connsiteX178" fmla="*/ 1293470 w 42198532"/>
              <a:gd name="connsiteY178" fmla="*/ 5400511 h 6975464"/>
              <a:gd name="connsiteX179" fmla="*/ 1484336 w 42198532"/>
              <a:gd name="connsiteY179" fmla="*/ 5252262 h 6975464"/>
              <a:gd name="connsiteX180" fmla="*/ 1484336 w 42198532"/>
              <a:gd name="connsiteY180" fmla="*/ 5426534 h 6975464"/>
              <a:gd name="connsiteX181" fmla="*/ 1497744 w 42198532"/>
              <a:gd name="connsiteY181" fmla="*/ 5424168 h 6975464"/>
              <a:gd name="connsiteX182" fmla="*/ 1497744 w 42198532"/>
              <a:gd name="connsiteY182" fmla="*/ 5246742 h 6975464"/>
              <a:gd name="connsiteX183" fmla="*/ 1513518 w 42198532"/>
              <a:gd name="connsiteY183" fmla="*/ 5234125 h 6975464"/>
              <a:gd name="connsiteX184" fmla="*/ 1513518 w 42198532"/>
              <a:gd name="connsiteY184" fmla="*/ 5217565 h 6975464"/>
              <a:gd name="connsiteX185" fmla="*/ 1495378 w 42198532"/>
              <a:gd name="connsiteY185" fmla="*/ 5231759 h 6975464"/>
              <a:gd name="connsiteX186" fmla="*/ 1495378 w 42198532"/>
              <a:gd name="connsiteY186" fmla="*/ 4885580 h 6975464"/>
              <a:gd name="connsiteX187" fmla="*/ 1513518 w 42198532"/>
              <a:gd name="connsiteY187" fmla="*/ 4871386 h 6975464"/>
              <a:gd name="connsiteX188" fmla="*/ 1513518 w 42198532"/>
              <a:gd name="connsiteY188" fmla="*/ 4854826 h 6975464"/>
              <a:gd name="connsiteX189" fmla="*/ 1489068 w 42198532"/>
              <a:gd name="connsiteY189" fmla="*/ 4873752 h 6975464"/>
              <a:gd name="connsiteX190" fmla="*/ 1123900 w 42198532"/>
              <a:gd name="connsiteY190" fmla="*/ 4596178 h 6975464"/>
              <a:gd name="connsiteX191" fmla="*/ 1488280 w 42198532"/>
              <a:gd name="connsiteY191" fmla="*/ 4313873 h 6975464"/>
              <a:gd name="connsiteX192" fmla="*/ 1853448 w 42198532"/>
              <a:gd name="connsiteY192" fmla="*/ 4591447 h 6975464"/>
              <a:gd name="connsiteX193" fmla="*/ 1514307 w 42198532"/>
              <a:gd name="connsiteY193" fmla="*/ 4854826 h 6975464"/>
              <a:gd name="connsiteX194" fmla="*/ 1514307 w 42198532"/>
              <a:gd name="connsiteY194" fmla="*/ 4870598 h 6975464"/>
              <a:gd name="connsiteX195" fmla="*/ 1857392 w 42198532"/>
              <a:gd name="connsiteY195" fmla="*/ 4604852 h 6975464"/>
              <a:gd name="connsiteX196" fmla="*/ 1857392 w 42198532"/>
              <a:gd name="connsiteY196" fmla="*/ 4951031 h 6975464"/>
              <a:gd name="connsiteX197" fmla="*/ 1514307 w 42198532"/>
              <a:gd name="connsiteY197" fmla="*/ 5217565 h 6975464"/>
              <a:gd name="connsiteX198" fmla="*/ 1514307 w 42198532"/>
              <a:gd name="connsiteY198" fmla="*/ 5234125 h 6975464"/>
              <a:gd name="connsiteX199" fmla="*/ 1870800 w 42198532"/>
              <a:gd name="connsiteY199" fmla="*/ 4957339 h 6975464"/>
              <a:gd name="connsiteX200" fmla="*/ 1870800 w 42198532"/>
              <a:gd name="connsiteY200" fmla="*/ 4588292 h 6975464"/>
              <a:gd name="connsiteX201" fmla="*/ 1497744 w 42198532"/>
              <a:gd name="connsiteY201" fmla="*/ 4304410 h 6975464"/>
              <a:gd name="connsiteX202" fmla="*/ 1497744 w 42198532"/>
              <a:gd name="connsiteY202" fmla="*/ 3956654 h 6975464"/>
              <a:gd name="connsiteX203" fmla="*/ 1484336 w 42198532"/>
              <a:gd name="connsiteY203" fmla="*/ 3966905 h 6975464"/>
              <a:gd name="connsiteX204" fmla="*/ 1484336 w 42198532"/>
              <a:gd name="connsiteY204" fmla="*/ 4299679 h 6975464"/>
              <a:gd name="connsiteX205" fmla="*/ 1122322 w 42198532"/>
              <a:gd name="connsiteY205" fmla="*/ 4579618 h 6975464"/>
              <a:gd name="connsiteX206" fmla="*/ 1122322 w 42198532"/>
              <a:gd name="connsiteY206" fmla="*/ 4233439 h 6975464"/>
              <a:gd name="connsiteX207" fmla="*/ 1484336 w 42198532"/>
              <a:gd name="connsiteY207" fmla="*/ 3952712 h 6975464"/>
              <a:gd name="connsiteX208" fmla="*/ 1484336 w 42198532"/>
              <a:gd name="connsiteY208" fmla="*/ 3966117 h 6975464"/>
              <a:gd name="connsiteX209" fmla="*/ 1497744 w 42198532"/>
              <a:gd name="connsiteY209" fmla="*/ 3955866 h 6975464"/>
              <a:gd name="connsiteX210" fmla="*/ 1497744 w 42198532"/>
              <a:gd name="connsiteY210" fmla="*/ 3936152 h 6975464"/>
              <a:gd name="connsiteX211" fmla="*/ 1136519 w 42198532"/>
              <a:gd name="connsiteY211" fmla="*/ 3661732 h 6975464"/>
              <a:gd name="connsiteX212" fmla="*/ 1125477 w 42198532"/>
              <a:gd name="connsiteY212" fmla="*/ 3669618 h 6975464"/>
              <a:gd name="connsiteX213" fmla="*/ 1135730 w 42198532"/>
              <a:gd name="connsiteY213" fmla="*/ 3660943 h 6975464"/>
              <a:gd name="connsiteX214" fmla="*/ 1119956 w 42198532"/>
              <a:gd name="connsiteY214" fmla="*/ 3649115 h 6975464"/>
              <a:gd name="connsiteX215" fmla="*/ 1119956 w 42198532"/>
              <a:gd name="connsiteY215" fmla="*/ 3637286 h 6975464"/>
              <a:gd name="connsiteX216" fmla="*/ 1106548 w 42198532"/>
              <a:gd name="connsiteY216" fmla="*/ 3637286 h 6975464"/>
              <a:gd name="connsiteX217" fmla="*/ 1106548 w 42198532"/>
              <a:gd name="connsiteY217" fmla="*/ 3649903 h 6975464"/>
              <a:gd name="connsiteX218" fmla="*/ 744534 w 42198532"/>
              <a:gd name="connsiteY218" fmla="*/ 3929843 h 6975464"/>
              <a:gd name="connsiteX219" fmla="*/ 744534 w 42198532"/>
              <a:gd name="connsiteY219" fmla="*/ 3612841 h 6975464"/>
              <a:gd name="connsiteX220" fmla="*/ 744534 w 42198532"/>
              <a:gd name="connsiteY220" fmla="*/ 3584453 h 6975464"/>
              <a:gd name="connsiteX221" fmla="*/ 1106548 w 42198532"/>
              <a:gd name="connsiteY221" fmla="*/ 3303725 h 6975464"/>
              <a:gd name="connsiteX222" fmla="*/ 1106548 w 42198532"/>
              <a:gd name="connsiteY222" fmla="*/ 3617573 h 6975464"/>
              <a:gd name="connsiteX223" fmla="*/ 1106548 w 42198532"/>
              <a:gd name="connsiteY223" fmla="*/ 3636498 h 6975464"/>
              <a:gd name="connsiteX224" fmla="*/ 1119956 w 42198532"/>
              <a:gd name="connsiteY224" fmla="*/ 3636498 h 6975464"/>
              <a:gd name="connsiteX225" fmla="*/ 1119956 w 42198532"/>
              <a:gd name="connsiteY225" fmla="*/ 3298205 h 6975464"/>
              <a:gd name="connsiteX226" fmla="*/ 1392847 w 42198532"/>
              <a:gd name="connsiteY226" fmla="*/ 3086870 h 6975464"/>
              <a:gd name="connsiteX227" fmla="*/ 1483547 w 42198532"/>
              <a:gd name="connsiteY227" fmla="*/ 3016688 h 6975464"/>
              <a:gd name="connsiteX228" fmla="*/ 1862913 w 42198532"/>
              <a:gd name="connsiteY228" fmla="*/ 3304513 h 6975464"/>
              <a:gd name="connsiteX229" fmla="*/ 2243855 w 42198532"/>
              <a:gd name="connsiteY229" fmla="*/ 3008803 h 6975464"/>
              <a:gd name="connsiteX230" fmla="*/ 2243855 w 42198532"/>
              <a:gd name="connsiteY230" fmla="*/ 2891307 h 6975464"/>
              <a:gd name="connsiteX231" fmla="*/ 2231236 w 42198532"/>
              <a:gd name="connsiteY231" fmla="*/ 2896827 h 6975464"/>
              <a:gd name="connsiteX232" fmla="*/ 2231236 w 42198532"/>
              <a:gd name="connsiteY232" fmla="*/ 3002494 h 6975464"/>
              <a:gd name="connsiteX233" fmla="*/ 1869222 w 42198532"/>
              <a:gd name="connsiteY233" fmla="*/ 3283222 h 6975464"/>
              <a:gd name="connsiteX234" fmla="*/ 1869222 w 42198532"/>
              <a:gd name="connsiteY234" fmla="*/ 2937043 h 6975464"/>
              <a:gd name="connsiteX235" fmla="*/ 2231236 w 42198532"/>
              <a:gd name="connsiteY235" fmla="*/ 2656315 h 6975464"/>
              <a:gd name="connsiteX236" fmla="*/ 2231236 w 42198532"/>
              <a:gd name="connsiteY236" fmla="*/ 2896038 h 6975464"/>
              <a:gd name="connsiteX237" fmla="*/ 2243855 w 42198532"/>
              <a:gd name="connsiteY237" fmla="*/ 2890518 h 6975464"/>
              <a:gd name="connsiteX238" fmla="*/ 2243855 w 42198532"/>
              <a:gd name="connsiteY238" fmla="*/ 2639755 h 6975464"/>
              <a:gd name="connsiteX239" fmla="*/ 2113720 w 42198532"/>
              <a:gd name="connsiteY239" fmla="*/ 2540397 h 6975464"/>
              <a:gd name="connsiteX240" fmla="*/ 2100312 w 42198532"/>
              <a:gd name="connsiteY240" fmla="*/ 2546705 h 6975464"/>
              <a:gd name="connsiteX241" fmla="*/ 2226503 w 42198532"/>
              <a:gd name="connsiteY241" fmla="*/ 2642910 h 6975464"/>
              <a:gd name="connsiteX242" fmla="*/ 1862124 w 42198532"/>
              <a:gd name="connsiteY242" fmla="*/ 2925215 h 6975464"/>
              <a:gd name="connsiteX243" fmla="*/ 1496955 w 42198532"/>
              <a:gd name="connsiteY243" fmla="*/ 2647641 h 6975464"/>
              <a:gd name="connsiteX244" fmla="*/ 1861335 w 42198532"/>
              <a:gd name="connsiteY244" fmla="*/ 2365336 h 6975464"/>
              <a:gd name="connsiteX245" fmla="*/ 2099523 w 42198532"/>
              <a:gd name="connsiteY245" fmla="*/ 2545916 h 6975464"/>
              <a:gd name="connsiteX246" fmla="*/ 2112931 w 42198532"/>
              <a:gd name="connsiteY246" fmla="*/ 2539608 h 6975464"/>
              <a:gd name="connsiteX247" fmla="*/ 1870800 w 42198532"/>
              <a:gd name="connsiteY247" fmla="*/ 2355873 h 6975464"/>
              <a:gd name="connsiteX248" fmla="*/ 1870800 w 42198532"/>
              <a:gd name="connsiteY248" fmla="*/ 2176869 h 6975464"/>
              <a:gd name="connsiteX249" fmla="*/ 1857392 w 42198532"/>
              <a:gd name="connsiteY249" fmla="*/ 2178447 h 6975464"/>
              <a:gd name="connsiteX250" fmla="*/ 1857392 w 42198532"/>
              <a:gd name="connsiteY250" fmla="*/ 2350353 h 6975464"/>
              <a:gd name="connsiteX251" fmla="*/ 1496167 w 42198532"/>
              <a:gd name="connsiteY251" fmla="*/ 2631081 h 6975464"/>
              <a:gd name="connsiteX252" fmla="*/ 1496167 w 42198532"/>
              <a:gd name="connsiteY252" fmla="*/ 2284114 h 6975464"/>
              <a:gd name="connsiteX253" fmla="*/ 1666526 w 42198532"/>
              <a:gd name="connsiteY253" fmla="*/ 2152424 h 6975464"/>
              <a:gd name="connsiteX254" fmla="*/ 1658639 w 42198532"/>
              <a:gd name="connsiteY254" fmla="*/ 2141384 h 6975464"/>
              <a:gd name="connsiteX255" fmla="*/ 1666526 w 42198532"/>
              <a:gd name="connsiteY255" fmla="*/ 2151636 h 6975464"/>
              <a:gd name="connsiteX256" fmla="*/ 1857392 w 42198532"/>
              <a:gd name="connsiteY256" fmla="*/ 2003386 h 6975464"/>
              <a:gd name="connsiteX257" fmla="*/ 1857392 w 42198532"/>
              <a:gd name="connsiteY257" fmla="*/ 2177658 h 6975464"/>
              <a:gd name="connsiteX258" fmla="*/ 1870800 w 42198532"/>
              <a:gd name="connsiteY258" fmla="*/ 2176081 h 6975464"/>
              <a:gd name="connsiteX259" fmla="*/ 1870800 w 42198532"/>
              <a:gd name="connsiteY259" fmla="*/ 1998654 h 6975464"/>
              <a:gd name="connsiteX260" fmla="*/ 1886574 w 42198532"/>
              <a:gd name="connsiteY260" fmla="*/ 1986037 h 6975464"/>
              <a:gd name="connsiteX261" fmla="*/ 1886574 w 42198532"/>
              <a:gd name="connsiteY261" fmla="*/ 1969478 h 6975464"/>
              <a:gd name="connsiteX262" fmla="*/ 1869222 w 42198532"/>
              <a:gd name="connsiteY262" fmla="*/ 1982883 h 6975464"/>
              <a:gd name="connsiteX263" fmla="*/ 1869222 w 42198532"/>
              <a:gd name="connsiteY263" fmla="*/ 1636704 h 6975464"/>
              <a:gd name="connsiteX264" fmla="*/ 1886574 w 42198532"/>
              <a:gd name="connsiteY264" fmla="*/ 1623299 h 6975464"/>
              <a:gd name="connsiteX265" fmla="*/ 1886574 w 42198532"/>
              <a:gd name="connsiteY265" fmla="*/ 1606739 h 6975464"/>
              <a:gd name="connsiteX266" fmla="*/ 1862124 w 42198532"/>
              <a:gd name="connsiteY266" fmla="*/ 1625665 h 6975464"/>
              <a:gd name="connsiteX267" fmla="*/ 1496955 w 42198532"/>
              <a:gd name="connsiteY267" fmla="*/ 1348091 h 6975464"/>
              <a:gd name="connsiteX268" fmla="*/ 1861335 w 42198532"/>
              <a:gd name="connsiteY268" fmla="*/ 1064997 h 6975464"/>
              <a:gd name="connsiteX269" fmla="*/ 2226503 w 42198532"/>
              <a:gd name="connsiteY269" fmla="*/ 1342571 h 6975464"/>
              <a:gd name="connsiteX270" fmla="*/ 1887362 w 42198532"/>
              <a:gd name="connsiteY270" fmla="*/ 1605951 h 6975464"/>
              <a:gd name="connsiteX271" fmla="*/ 1887362 w 42198532"/>
              <a:gd name="connsiteY271" fmla="*/ 1622510 h 6975464"/>
              <a:gd name="connsiteX272" fmla="*/ 2231236 w 42198532"/>
              <a:gd name="connsiteY272" fmla="*/ 1355976 h 6975464"/>
              <a:gd name="connsiteX273" fmla="*/ 2231236 w 42198532"/>
              <a:gd name="connsiteY273" fmla="*/ 1702944 h 6975464"/>
              <a:gd name="connsiteX274" fmla="*/ 1887362 w 42198532"/>
              <a:gd name="connsiteY274" fmla="*/ 1968689 h 6975464"/>
              <a:gd name="connsiteX275" fmla="*/ 1887362 w 42198532"/>
              <a:gd name="connsiteY275" fmla="*/ 1985249 h 6975464"/>
              <a:gd name="connsiteX276" fmla="*/ 2243855 w 42198532"/>
              <a:gd name="connsiteY276" fmla="*/ 1709252 h 6975464"/>
              <a:gd name="connsiteX277" fmla="*/ 2243855 w 42198532"/>
              <a:gd name="connsiteY277" fmla="*/ 1339416 h 6975464"/>
              <a:gd name="connsiteX278" fmla="*/ 1870800 w 42198532"/>
              <a:gd name="connsiteY278" fmla="*/ 1056323 h 6975464"/>
              <a:gd name="connsiteX279" fmla="*/ 1870800 w 42198532"/>
              <a:gd name="connsiteY279" fmla="*/ 707778 h 6975464"/>
              <a:gd name="connsiteX280" fmla="*/ 1857392 w 42198532"/>
              <a:gd name="connsiteY280" fmla="*/ 718030 h 6975464"/>
              <a:gd name="connsiteX281" fmla="*/ 1857392 w 42198532"/>
              <a:gd name="connsiteY281" fmla="*/ 1050803 h 6975464"/>
              <a:gd name="connsiteX282" fmla="*/ 1496167 w 42198532"/>
              <a:gd name="connsiteY282" fmla="*/ 1331531 h 6975464"/>
              <a:gd name="connsiteX283" fmla="*/ 1496167 w 42198532"/>
              <a:gd name="connsiteY283" fmla="*/ 985352 h 6975464"/>
              <a:gd name="connsiteX284" fmla="*/ 1857392 w 42198532"/>
              <a:gd name="connsiteY284" fmla="*/ 704624 h 6975464"/>
              <a:gd name="connsiteX285" fmla="*/ 1857392 w 42198532"/>
              <a:gd name="connsiteY285" fmla="*/ 717241 h 6975464"/>
              <a:gd name="connsiteX286" fmla="*/ 1870800 w 42198532"/>
              <a:gd name="connsiteY286" fmla="*/ 706990 h 6975464"/>
              <a:gd name="connsiteX287" fmla="*/ 1870800 w 42198532"/>
              <a:gd name="connsiteY287" fmla="*/ 688064 h 6975464"/>
              <a:gd name="connsiteX288" fmla="*/ 1509574 w 42198532"/>
              <a:gd name="connsiteY288" fmla="*/ 412856 h 6975464"/>
              <a:gd name="connsiteX289" fmla="*/ 1498533 w 42198532"/>
              <a:gd name="connsiteY289" fmla="*/ 421530 h 6975464"/>
              <a:gd name="connsiteX290" fmla="*/ 1508786 w 42198532"/>
              <a:gd name="connsiteY290" fmla="*/ 412856 h 6975464"/>
              <a:gd name="connsiteX291" fmla="*/ 1493012 w 42198532"/>
              <a:gd name="connsiteY291" fmla="*/ 401028 h 6975464"/>
              <a:gd name="connsiteX292" fmla="*/ 1493012 w 42198532"/>
              <a:gd name="connsiteY292" fmla="*/ 119417 h 6975464"/>
              <a:gd name="connsiteX293" fmla="*/ 1493012 w 42198532"/>
              <a:gd name="connsiteY293" fmla="*/ 117464 h 6975464"/>
              <a:gd name="connsiteX294" fmla="*/ 1398859 w 42198532"/>
              <a:gd name="connsiteY294" fmla="*/ 117464 h 6975464"/>
              <a:gd name="connsiteX295" fmla="*/ 1480393 w 42198532"/>
              <a:gd name="connsiteY295" fmla="*/ 117464 h 6975464"/>
              <a:gd name="connsiteX296" fmla="*/ 1480393 w 42198532"/>
              <a:gd name="connsiteY296" fmla="*/ 201868 h 6975464"/>
              <a:gd name="connsiteX297" fmla="*/ 1480393 w 42198532"/>
              <a:gd name="connsiteY297" fmla="*/ 401028 h 6975464"/>
              <a:gd name="connsiteX298" fmla="*/ 1118379 w 42198532"/>
              <a:gd name="connsiteY298" fmla="*/ 681756 h 6975464"/>
              <a:gd name="connsiteX299" fmla="*/ 1118379 w 42198532"/>
              <a:gd name="connsiteY299" fmla="*/ 335577 h 6975464"/>
              <a:gd name="connsiteX300" fmla="*/ 1379242 w 42198532"/>
              <a:gd name="connsiteY300" fmla="*/ 132719 h 6975464"/>
              <a:gd name="connsiteX301" fmla="*/ 1398859 w 42198532"/>
              <a:gd name="connsiteY301" fmla="*/ 117464 h 6975464"/>
              <a:gd name="connsiteX302" fmla="*/ 840168 w 42198532"/>
              <a:gd name="connsiteY302" fmla="*/ 117464 h 6975464"/>
              <a:gd name="connsiteX303" fmla="*/ 1377550 w 42198532"/>
              <a:gd name="connsiteY303" fmla="*/ 117464 h 6975464"/>
              <a:gd name="connsiteX304" fmla="*/ 1301753 w 42198532"/>
              <a:gd name="connsiteY304" fmla="*/ 176360 h 6975464"/>
              <a:gd name="connsiteX305" fmla="*/ 1112069 w 42198532"/>
              <a:gd name="connsiteY305" fmla="*/ 323748 h 6975464"/>
              <a:gd name="connsiteX306" fmla="*/ 857417 w 42198532"/>
              <a:gd name="connsiteY306" fmla="*/ 130551 h 6975464"/>
              <a:gd name="connsiteX307" fmla="*/ 840168 w 42198532"/>
              <a:gd name="connsiteY307" fmla="*/ 117464 h 6975464"/>
              <a:gd name="connsiteX0" fmla="*/ 738225 w 42198532"/>
              <a:gd name="connsiteY0" fmla="*/ 6911396 h 7004830"/>
              <a:gd name="connsiteX1" fmla="*/ 814828 w 42198532"/>
              <a:gd name="connsiteY1" fmla="*/ 6969750 h 7004830"/>
              <a:gd name="connsiteX2" fmla="*/ 822329 w 42198532"/>
              <a:gd name="connsiteY2" fmla="*/ 6975464 h 7004830"/>
              <a:gd name="connsiteX3" fmla="*/ 655724 w 42198532"/>
              <a:gd name="connsiteY3" fmla="*/ 6975464 h 7004830"/>
              <a:gd name="connsiteX4" fmla="*/ 656989 w 42198532"/>
              <a:gd name="connsiteY4" fmla="*/ 6974481 h 7004830"/>
              <a:gd name="connsiteX5" fmla="*/ 738225 w 42198532"/>
              <a:gd name="connsiteY5" fmla="*/ 6911396 h 7004830"/>
              <a:gd name="connsiteX6" fmla="*/ 733493 w 42198532"/>
              <a:gd name="connsiteY6" fmla="*/ 6551812 h 7004830"/>
              <a:gd name="connsiteX7" fmla="*/ 733493 w 42198532"/>
              <a:gd name="connsiteY7" fmla="*/ 6897991 h 7004830"/>
              <a:gd name="connsiteX8" fmla="*/ 639637 w 42198532"/>
              <a:gd name="connsiteY8" fmla="*/ 6970539 h 7004830"/>
              <a:gd name="connsiteX9" fmla="*/ 656989 w 42198532"/>
              <a:gd name="connsiteY9" fmla="*/ 6974481 h 7004830"/>
              <a:gd name="connsiteX10" fmla="*/ 638848 w 42198532"/>
              <a:gd name="connsiteY10" fmla="*/ 6971327 h 7004830"/>
              <a:gd name="connsiteX11" fmla="*/ 633515 w 42198532"/>
              <a:gd name="connsiteY11" fmla="*/ 6975464 h 7004830"/>
              <a:gd name="connsiteX12" fmla="*/ 371479 w 42198532"/>
              <a:gd name="connsiteY12" fmla="*/ 6975464 h 7004830"/>
              <a:gd name="connsiteX13" fmla="*/ 371479 w 42198532"/>
              <a:gd name="connsiteY13" fmla="*/ 6917056 h 7004830"/>
              <a:gd name="connsiteX14" fmla="*/ 371479 w 42198532"/>
              <a:gd name="connsiteY14" fmla="*/ 6832540 h 7004830"/>
              <a:gd name="connsiteX15" fmla="*/ 733493 w 42198532"/>
              <a:gd name="connsiteY15" fmla="*/ 6551812 h 7004830"/>
              <a:gd name="connsiteX16" fmla="*/ 1106548 w 42198532"/>
              <a:gd name="connsiteY16" fmla="*/ 5904403 h 7004830"/>
              <a:gd name="connsiteX17" fmla="*/ 1106548 w 42198532"/>
              <a:gd name="connsiteY17" fmla="*/ 6251370 h 7004830"/>
              <a:gd name="connsiteX18" fmla="*/ 1012693 w 42198532"/>
              <a:gd name="connsiteY18" fmla="*/ 6323918 h 7004830"/>
              <a:gd name="connsiteX19" fmla="*/ 744534 w 42198532"/>
              <a:gd name="connsiteY19" fmla="*/ 6531309 h 7004830"/>
              <a:gd name="connsiteX20" fmla="*/ 744534 w 42198532"/>
              <a:gd name="connsiteY20" fmla="*/ 6185131 h 7004830"/>
              <a:gd name="connsiteX21" fmla="*/ 873093 w 42198532"/>
              <a:gd name="connsiteY21" fmla="*/ 6085772 h 7004830"/>
              <a:gd name="connsiteX22" fmla="*/ 1106548 w 42198532"/>
              <a:gd name="connsiteY22" fmla="*/ 5904403 h 7004830"/>
              <a:gd name="connsiteX23" fmla="*/ 1739875 w 42198532"/>
              <a:gd name="connsiteY23" fmla="*/ 5788484 h 7004830"/>
              <a:gd name="connsiteX24" fmla="*/ 1726467 w 42198532"/>
              <a:gd name="connsiteY24" fmla="*/ 5794792 h 7004830"/>
              <a:gd name="connsiteX25" fmla="*/ 1739875 w 42198532"/>
              <a:gd name="connsiteY25" fmla="*/ 5788484 h 7004830"/>
              <a:gd name="connsiteX26" fmla="*/ 1488280 w 42198532"/>
              <a:gd name="connsiteY26" fmla="*/ 5613423 h 7004830"/>
              <a:gd name="connsiteX27" fmla="*/ 1726467 w 42198532"/>
              <a:gd name="connsiteY27" fmla="*/ 5794792 h 7004830"/>
              <a:gd name="connsiteX28" fmla="*/ 1853448 w 42198532"/>
              <a:gd name="connsiteY28" fmla="*/ 5890997 h 7004830"/>
              <a:gd name="connsiteX29" fmla="*/ 1489068 w 42198532"/>
              <a:gd name="connsiteY29" fmla="*/ 6174091 h 7004830"/>
              <a:gd name="connsiteX30" fmla="*/ 1123900 w 42198532"/>
              <a:gd name="connsiteY30" fmla="*/ 5896517 h 7004830"/>
              <a:gd name="connsiteX31" fmla="*/ 1488280 w 42198532"/>
              <a:gd name="connsiteY31" fmla="*/ 5613423 h 7004830"/>
              <a:gd name="connsiteX32" fmla="*/ 359648 w 42198532"/>
              <a:gd name="connsiteY32" fmla="*/ 4965225 h 7004830"/>
              <a:gd name="connsiteX33" fmla="*/ 724817 w 42198532"/>
              <a:gd name="connsiteY33" fmla="*/ 5242799 h 7004830"/>
              <a:gd name="connsiteX34" fmla="*/ 487418 w 42198532"/>
              <a:gd name="connsiteY34" fmla="*/ 5426534 h 7004830"/>
              <a:gd name="connsiteX35" fmla="*/ 493727 w 42198532"/>
              <a:gd name="connsiteY35" fmla="*/ 5437574 h 7004830"/>
              <a:gd name="connsiteX36" fmla="*/ 733493 w 42198532"/>
              <a:gd name="connsiteY36" fmla="*/ 5252262 h 7004830"/>
              <a:gd name="connsiteX37" fmla="*/ 733493 w 42198532"/>
              <a:gd name="connsiteY37" fmla="*/ 5598440 h 7004830"/>
              <a:gd name="connsiteX38" fmla="*/ 633328 w 42198532"/>
              <a:gd name="connsiteY38" fmla="*/ 5675720 h 7004830"/>
              <a:gd name="connsiteX39" fmla="*/ 641215 w 42198532"/>
              <a:gd name="connsiteY39" fmla="*/ 5688337 h 7004830"/>
              <a:gd name="connsiteX40" fmla="*/ 737436 w 42198532"/>
              <a:gd name="connsiteY40" fmla="*/ 5613423 h 7004830"/>
              <a:gd name="connsiteX41" fmla="*/ 1102605 w 42198532"/>
              <a:gd name="connsiteY41" fmla="*/ 5890997 h 7004830"/>
              <a:gd name="connsiteX42" fmla="*/ 866783 w 42198532"/>
              <a:gd name="connsiteY42" fmla="*/ 6073943 h 7004830"/>
              <a:gd name="connsiteX43" fmla="*/ 873093 w 42198532"/>
              <a:gd name="connsiteY43" fmla="*/ 6085772 h 7004830"/>
              <a:gd name="connsiteX44" fmla="*/ 865994 w 42198532"/>
              <a:gd name="connsiteY44" fmla="*/ 6074732 h 7004830"/>
              <a:gd name="connsiteX45" fmla="*/ 738225 w 42198532"/>
              <a:gd name="connsiteY45" fmla="*/ 6174091 h 7004830"/>
              <a:gd name="connsiteX46" fmla="*/ 373056 w 42198532"/>
              <a:gd name="connsiteY46" fmla="*/ 5896517 h 7004830"/>
              <a:gd name="connsiteX47" fmla="*/ 640426 w 42198532"/>
              <a:gd name="connsiteY47" fmla="*/ 5689125 h 7004830"/>
              <a:gd name="connsiteX48" fmla="*/ 633328 w 42198532"/>
              <a:gd name="connsiteY48" fmla="*/ 5676508 h 7004830"/>
              <a:gd name="connsiteX49" fmla="*/ 371479 w 42198532"/>
              <a:gd name="connsiteY49" fmla="*/ 5879169 h 7004830"/>
              <a:gd name="connsiteX50" fmla="*/ 371479 w 42198532"/>
              <a:gd name="connsiteY50" fmla="*/ 5532990 h 7004830"/>
              <a:gd name="connsiteX51" fmla="*/ 493727 w 42198532"/>
              <a:gd name="connsiteY51" fmla="*/ 5438362 h 7004830"/>
              <a:gd name="connsiteX52" fmla="*/ 486629 w 42198532"/>
              <a:gd name="connsiteY52" fmla="*/ 5426534 h 7004830"/>
              <a:gd name="connsiteX53" fmla="*/ 365169 w 42198532"/>
              <a:gd name="connsiteY53" fmla="*/ 5521161 h 7004830"/>
              <a:gd name="connsiteX54" fmla="*/ 0 w 42198532"/>
              <a:gd name="connsiteY54" fmla="*/ 5243588 h 7004830"/>
              <a:gd name="connsiteX55" fmla="*/ 359648 w 42198532"/>
              <a:gd name="connsiteY55" fmla="*/ 4965225 h 7004830"/>
              <a:gd name="connsiteX56" fmla="*/ 1106548 w 42198532"/>
              <a:gd name="connsiteY56" fmla="*/ 4604852 h 7004830"/>
              <a:gd name="connsiteX57" fmla="*/ 1106548 w 42198532"/>
              <a:gd name="connsiteY57" fmla="*/ 4951031 h 7004830"/>
              <a:gd name="connsiteX58" fmla="*/ 1018214 w 42198532"/>
              <a:gd name="connsiteY58" fmla="*/ 5019636 h 7004830"/>
              <a:gd name="connsiteX59" fmla="*/ 1025312 w 42198532"/>
              <a:gd name="connsiteY59" fmla="*/ 5030676 h 7004830"/>
              <a:gd name="connsiteX60" fmla="*/ 1017425 w 42198532"/>
              <a:gd name="connsiteY60" fmla="*/ 5020424 h 7004830"/>
              <a:gd name="connsiteX61" fmla="*/ 744534 w 42198532"/>
              <a:gd name="connsiteY61" fmla="*/ 5231759 h 7004830"/>
              <a:gd name="connsiteX62" fmla="*/ 744534 w 42198532"/>
              <a:gd name="connsiteY62" fmla="*/ 4885580 h 7004830"/>
              <a:gd name="connsiteX63" fmla="*/ 856530 w 42198532"/>
              <a:gd name="connsiteY63" fmla="*/ 4798050 h 7004830"/>
              <a:gd name="connsiteX64" fmla="*/ 849432 w 42198532"/>
              <a:gd name="connsiteY64" fmla="*/ 4787799 h 7004830"/>
              <a:gd name="connsiteX65" fmla="*/ 857319 w 42198532"/>
              <a:gd name="connsiteY65" fmla="*/ 4798050 h 7004830"/>
              <a:gd name="connsiteX66" fmla="*/ 1106548 w 42198532"/>
              <a:gd name="connsiteY66" fmla="*/ 4604852 h 7004830"/>
              <a:gd name="connsiteX67" fmla="*/ 737436 w 42198532"/>
              <a:gd name="connsiteY67" fmla="*/ 4313873 h 7004830"/>
              <a:gd name="connsiteX68" fmla="*/ 1102605 w 42198532"/>
              <a:gd name="connsiteY68" fmla="*/ 4591447 h 7004830"/>
              <a:gd name="connsiteX69" fmla="*/ 849432 w 42198532"/>
              <a:gd name="connsiteY69" fmla="*/ 4787799 h 7004830"/>
              <a:gd name="connsiteX70" fmla="*/ 738225 w 42198532"/>
              <a:gd name="connsiteY70" fmla="*/ 4873752 h 7004830"/>
              <a:gd name="connsiteX71" fmla="*/ 373056 w 42198532"/>
              <a:gd name="connsiteY71" fmla="*/ 4596178 h 7004830"/>
              <a:gd name="connsiteX72" fmla="*/ 737436 w 42198532"/>
              <a:gd name="connsiteY72" fmla="*/ 4313873 h 7004830"/>
              <a:gd name="connsiteX73" fmla="*/ 1115224 w 42198532"/>
              <a:gd name="connsiteY73" fmla="*/ 3661732 h 7004830"/>
              <a:gd name="connsiteX74" fmla="*/ 1125477 w 42198532"/>
              <a:gd name="connsiteY74" fmla="*/ 3669618 h 7004830"/>
              <a:gd name="connsiteX75" fmla="*/ 1480393 w 42198532"/>
              <a:gd name="connsiteY75" fmla="*/ 3939306 h 7004830"/>
              <a:gd name="connsiteX76" fmla="*/ 1116013 w 42198532"/>
              <a:gd name="connsiteY76" fmla="*/ 4222399 h 7004830"/>
              <a:gd name="connsiteX77" fmla="*/ 750844 w 42198532"/>
              <a:gd name="connsiteY77" fmla="*/ 3944037 h 7004830"/>
              <a:gd name="connsiteX78" fmla="*/ 1115224 w 42198532"/>
              <a:gd name="connsiteY78" fmla="*/ 3661732 h 7004830"/>
              <a:gd name="connsiteX79" fmla="*/ 1480393 w 42198532"/>
              <a:gd name="connsiteY79" fmla="*/ 2656315 h 7004830"/>
              <a:gd name="connsiteX80" fmla="*/ 1480393 w 42198532"/>
              <a:gd name="connsiteY80" fmla="*/ 3002494 h 7004830"/>
              <a:gd name="connsiteX81" fmla="*/ 1386537 w 42198532"/>
              <a:gd name="connsiteY81" fmla="*/ 3075042 h 7004830"/>
              <a:gd name="connsiteX82" fmla="*/ 1392847 w 42198532"/>
              <a:gd name="connsiteY82" fmla="*/ 3086870 h 7004830"/>
              <a:gd name="connsiteX83" fmla="*/ 1385748 w 42198532"/>
              <a:gd name="connsiteY83" fmla="*/ 3075830 h 7004830"/>
              <a:gd name="connsiteX84" fmla="*/ 1118379 w 42198532"/>
              <a:gd name="connsiteY84" fmla="*/ 3283222 h 7004830"/>
              <a:gd name="connsiteX85" fmla="*/ 1118379 w 42198532"/>
              <a:gd name="connsiteY85" fmla="*/ 2937043 h 7004830"/>
              <a:gd name="connsiteX86" fmla="*/ 1246148 w 42198532"/>
              <a:gd name="connsiteY86" fmla="*/ 2837685 h 7004830"/>
              <a:gd name="connsiteX87" fmla="*/ 1239839 w 42198532"/>
              <a:gd name="connsiteY87" fmla="*/ 2825856 h 7004830"/>
              <a:gd name="connsiteX88" fmla="*/ 1246937 w 42198532"/>
              <a:gd name="connsiteY88" fmla="*/ 2836896 h 7004830"/>
              <a:gd name="connsiteX89" fmla="*/ 1480393 w 42198532"/>
              <a:gd name="connsiteY89" fmla="*/ 2656315 h 7004830"/>
              <a:gd name="connsiteX90" fmla="*/ 732704 w 42198532"/>
              <a:gd name="connsiteY90" fmla="*/ 1716349 h 7004830"/>
              <a:gd name="connsiteX91" fmla="*/ 1097873 w 42198532"/>
              <a:gd name="connsiteY91" fmla="*/ 1993923 h 7004830"/>
              <a:gd name="connsiteX92" fmla="*/ 860473 w 42198532"/>
              <a:gd name="connsiteY92" fmla="*/ 2177658 h 7004830"/>
              <a:gd name="connsiteX93" fmla="*/ 867572 w 42198532"/>
              <a:gd name="connsiteY93" fmla="*/ 2189486 h 7004830"/>
              <a:gd name="connsiteX94" fmla="*/ 1106548 w 42198532"/>
              <a:gd name="connsiteY94" fmla="*/ 2003386 h 7004830"/>
              <a:gd name="connsiteX95" fmla="*/ 1106548 w 42198532"/>
              <a:gd name="connsiteY95" fmla="*/ 2350353 h 7004830"/>
              <a:gd name="connsiteX96" fmla="*/ 1007172 w 42198532"/>
              <a:gd name="connsiteY96" fmla="*/ 2427632 h 7004830"/>
              <a:gd name="connsiteX97" fmla="*/ 1014270 w 42198532"/>
              <a:gd name="connsiteY97" fmla="*/ 2440249 h 7004830"/>
              <a:gd name="connsiteX98" fmla="*/ 1110492 w 42198532"/>
              <a:gd name="connsiteY98" fmla="*/ 2365336 h 7004830"/>
              <a:gd name="connsiteX99" fmla="*/ 1475660 w 42198532"/>
              <a:gd name="connsiteY99" fmla="*/ 2642910 h 7004830"/>
              <a:gd name="connsiteX100" fmla="*/ 1239839 w 42198532"/>
              <a:gd name="connsiteY100" fmla="*/ 2825856 h 7004830"/>
              <a:gd name="connsiteX101" fmla="*/ 1112069 w 42198532"/>
              <a:gd name="connsiteY101" fmla="*/ 2925215 h 7004830"/>
              <a:gd name="connsiteX102" fmla="*/ 746900 w 42198532"/>
              <a:gd name="connsiteY102" fmla="*/ 2647641 h 7004830"/>
              <a:gd name="connsiteX103" fmla="*/ 1013481 w 42198532"/>
              <a:gd name="connsiteY103" fmla="*/ 2440249 h 7004830"/>
              <a:gd name="connsiteX104" fmla="*/ 1006383 w 42198532"/>
              <a:gd name="connsiteY104" fmla="*/ 2427632 h 7004830"/>
              <a:gd name="connsiteX105" fmla="*/ 744534 w 42198532"/>
              <a:gd name="connsiteY105" fmla="*/ 2631081 h 7004830"/>
              <a:gd name="connsiteX106" fmla="*/ 744534 w 42198532"/>
              <a:gd name="connsiteY106" fmla="*/ 2284114 h 7004830"/>
              <a:gd name="connsiteX107" fmla="*/ 866783 w 42198532"/>
              <a:gd name="connsiteY107" fmla="*/ 2189486 h 7004830"/>
              <a:gd name="connsiteX108" fmla="*/ 860473 w 42198532"/>
              <a:gd name="connsiteY108" fmla="*/ 2178447 h 7004830"/>
              <a:gd name="connsiteX109" fmla="*/ 738225 w 42198532"/>
              <a:gd name="connsiteY109" fmla="*/ 2273074 h 7004830"/>
              <a:gd name="connsiteX110" fmla="*/ 373056 w 42198532"/>
              <a:gd name="connsiteY110" fmla="*/ 1995500 h 7004830"/>
              <a:gd name="connsiteX111" fmla="*/ 732704 w 42198532"/>
              <a:gd name="connsiteY111" fmla="*/ 1716349 h 7004830"/>
              <a:gd name="connsiteX112" fmla="*/ 1480393 w 42198532"/>
              <a:gd name="connsiteY112" fmla="*/ 1355976 h 7004830"/>
              <a:gd name="connsiteX113" fmla="*/ 1480393 w 42198532"/>
              <a:gd name="connsiteY113" fmla="*/ 1702944 h 7004830"/>
              <a:gd name="connsiteX114" fmla="*/ 1391269 w 42198532"/>
              <a:gd name="connsiteY114" fmla="*/ 1771549 h 7004830"/>
              <a:gd name="connsiteX115" fmla="*/ 1399156 w 42198532"/>
              <a:gd name="connsiteY115" fmla="*/ 1781800 h 7004830"/>
              <a:gd name="connsiteX116" fmla="*/ 1483547 w 42198532"/>
              <a:gd name="connsiteY116" fmla="*/ 1716349 h 7004830"/>
              <a:gd name="connsiteX117" fmla="*/ 1848716 w 42198532"/>
              <a:gd name="connsiteY117" fmla="*/ 1993923 h 7004830"/>
              <a:gd name="connsiteX118" fmla="*/ 1658639 w 42198532"/>
              <a:gd name="connsiteY118" fmla="*/ 2141384 h 7004830"/>
              <a:gd name="connsiteX119" fmla="*/ 1489068 w 42198532"/>
              <a:gd name="connsiteY119" fmla="*/ 2273074 h 7004830"/>
              <a:gd name="connsiteX120" fmla="*/ 1123900 w 42198532"/>
              <a:gd name="connsiteY120" fmla="*/ 1995500 h 7004830"/>
              <a:gd name="connsiteX121" fmla="*/ 1398368 w 42198532"/>
              <a:gd name="connsiteY121" fmla="*/ 1782588 h 7004830"/>
              <a:gd name="connsiteX122" fmla="*/ 1390481 w 42198532"/>
              <a:gd name="connsiteY122" fmla="*/ 1771549 h 7004830"/>
              <a:gd name="connsiteX123" fmla="*/ 1118379 w 42198532"/>
              <a:gd name="connsiteY123" fmla="*/ 1982883 h 7004830"/>
              <a:gd name="connsiteX124" fmla="*/ 1118379 w 42198532"/>
              <a:gd name="connsiteY124" fmla="*/ 1636704 h 7004830"/>
              <a:gd name="connsiteX125" fmla="*/ 1230374 w 42198532"/>
              <a:gd name="connsiteY125" fmla="*/ 1549963 h 7004830"/>
              <a:gd name="connsiteX126" fmla="*/ 1480393 w 42198532"/>
              <a:gd name="connsiteY126" fmla="*/ 1355976 h 7004830"/>
              <a:gd name="connsiteX127" fmla="*/ 1110492 w 42198532"/>
              <a:gd name="connsiteY127" fmla="*/ 1064997 h 7004830"/>
              <a:gd name="connsiteX128" fmla="*/ 1475660 w 42198532"/>
              <a:gd name="connsiteY128" fmla="*/ 1342571 h 7004830"/>
              <a:gd name="connsiteX129" fmla="*/ 1223276 w 42198532"/>
              <a:gd name="connsiteY129" fmla="*/ 1538923 h 7004830"/>
              <a:gd name="connsiteX130" fmla="*/ 1230374 w 42198532"/>
              <a:gd name="connsiteY130" fmla="*/ 1549963 h 7004830"/>
              <a:gd name="connsiteX131" fmla="*/ 1222487 w 42198532"/>
              <a:gd name="connsiteY131" fmla="*/ 1539711 h 7004830"/>
              <a:gd name="connsiteX132" fmla="*/ 1112069 w 42198532"/>
              <a:gd name="connsiteY132" fmla="*/ 1625665 h 7004830"/>
              <a:gd name="connsiteX133" fmla="*/ 746900 w 42198532"/>
              <a:gd name="connsiteY133" fmla="*/ 1348091 h 7004830"/>
              <a:gd name="connsiteX134" fmla="*/ 1110492 w 42198532"/>
              <a:gd name="connsiteY134" fmla="*/ 1064997 h 7004830"/>
              <a:gd name="connsiteX135" fmla="*/ 1488280 w 42198532"/>
              <a:gd name="connsiteY135" fmla="*/ 413645 h 7004830"/>
              <a:gd name="connsiteX136" fmla="*/ 1498533 w 42198532"/>
              <a:gd name="connsiteY136" fmla="*/ 421530 h 7004830"/>
              <a:gd name="connsiteX137" fmla="*/ 1853448 w 42198532"/>
              <a:gd name="connsiteY137" fmla="*/ 691218 h 7004830"/>
              <a:gd name="connsiteX138" fmla="*/ 1489068 w 42198532"/>
              <a:gd name="connsiteY138" fmla="*/ 973524 h 7004830"/>
              <a:gd name="connsiteX139" fmla="*/ 1123900 w 42198532"/>
              <a:gd name="connsiteY139" fmla="*/ 695950 h 7004830"/>
              <a:gd name="connsiteX140" fmla="*/ 1488280 w 42198532"/>
              <a:gd name="connsiteY140" fmla="*/ 413645 h 7004830"/>
              <a:gd name="connsiteX141" fmla="*/ 1493012 w 42198532"/>
              <a:gd name="connsiteY141" fmla="*/ 117464 h 7004830"/>
              <a:gd name="connsiteX142" fmla="*/ 42118086 w 42198532"/>
              <a:gd name="connsiteY142" fmla="*/ 0 h 7004830"/>
              <a:gd name="connsiteX143" fmla="*/ 42198532 w 42198532"/>
              <a:gd name="connsiteY143" fmla="*/ 7004830 h 7004830"/>
              <a:gd name="connsiteX144" fmla="*/ 843615 w 42198532"/>
              <a:gd name="connsiteY144" fmla="*/ 6975464 h 7004830"/>
              <a:gd name="connsiteX145" fmla="*/ 810785 w 42198532"/>
              <a:gd name="connsiteY145" fmla="*/ 6950504 h 7004830"/>
              <a:gd name="connsiteX146" fmla="*/ 746900 w 42198532"/>
              <a:gd name="connsiteY146" fmla="*/ 6901934 h 7004830"/>
              <a:gd name="connsiteX147" fmla="*/ 746900 w 42198532"/>
              <a:gd name="connsiteY147" fmla="*/ 6547081 h 7004830"/>
              <a:gd name="connsiteX148" fmla="*/ 1019002 w 42198532"/>
              <a:gd name="connsiteY148" fmla="*/ 6335746 h 7004830"/>
              <a:gd name="connsiteX149" fmla="*/ 1012693 w 42198532"/>
              <a:gd name="connsiteY149" fmla="*/ 6323918 h 7004830"/>
              <a:gd name="connsiteX150" fmla="*/ 1019791 w 42198532"/>
              <a:gd name="connsiteY150" fmla="*/ 6334957 h 7004830"/>
              <a:gd name="connsiteX151" fmla="*/ 1110492 w 42198532"/>
              <a:gd name="connsiteY151" fmla="*/ 6264775 h 7004830"/>
              <a:gd name="connsiteX152" fmla="*/ 1489068 w 42198532"/>
              <a:gd name="connsiteY152" fmla="*/ 6553389 h 7004830"/>
              <a:gd name="connsiteX153" fmla="*/ 1870800 w 42198532"/>
              <a:gd name="connsiteY153" fmla="*/ 6257678 h 7004830"/>
              <a:gd name="connsiteX154" fmla="*/ 1870800 w 42198532"/>
              <a:gd name="connsiteY154" fmla="*/ 6139394 h 7004830"/>
              <a:gd name="connsiteX155" fmla="*/ 1857392 w 42198532"/>
              <a:gd name="connsiteY155" fmla="*/ 6144914 h 7004830"/>
              <a:gd name="connsiteX156" fmla="*/ 1857392 w 42198532"/>
              <a:gd name="connsiteY156" fmla="*/ 6251370 h 7004830"/>
              <a:gd name="connsiteX157" fmla="*/ 1495378 w 42198532"/>
              <a:gd name="connsiteY157" fmla="*/ 6531309 h 7004830"/>
              <a:gd name="connsiteX158" fmla="*/ 1495378 w 42198532"/>
              <a:gd name="connsiteY158" fmla="*/ 6185131 h 7004830"/>
              <a:gd name="connsiteX159" fmla="*/ 1857392 w 42198532"/>
              <a:gd name="connsiteY159" fmla="*/ 5904403 h 7004830"/>
              <a:gd name="connsiteX160" fmla="*/ 1857392 w 42198532"/>
              <a:gd name="connsiteY160" fmla="*/ 6144125 h 7004830"/>
              <a:gd name="connsiteX161" fmla="*/ 1870800 w 42198532"/>
              <a:gd name="connsiteY161" fmla="*/ 6138605 h 7004830"/>
              <a:gd name="connsiteX162" fmla="*/ 1870800 w 42198532"/>
              <a:gd name="connsiteY162" fmla="*/ 5887843 h 7004830"/>
              <a:gd name="connsiteX163" fmla="*/ 1739875 w 42198532"/>
              <a:gd name="connsiteY163" fmla="*/ 5788484 h 7004830"/>
              <a:gd name="connsiteX164" fmla="*/ 1497744 w 42198532"/>
              <a:gd name="connsiteY164" fmla="*/ 5604749 h 7004830"/>
              <a:gd name="connsiteX165" fmla="*/ 1497744 w 42198532"/>
              <a:gd name="connsiteY165" fmla="*/ 5424957 h 7004830"/>
              <a:gd name="connsiteX166" fmla="*/ 1484336 w 42198532"/>
              <a:gd name="connsiteY166" fmla="*/ 5427322 h 7004830"/>
              <a:gd name="connsiteX167" fmla="*/ 1484336 w 42198532"/>
              <a:gd name="connsiteY167" fmla="*/ 5598440 h 7004830"/>
              <a:gd name="connsiteX168" fmla="*/ 1122322 w 42198532"/>
              <a:gd name="connsiteY168" fmla="*/ 5879169 h 7004830"/>
              <a:gd name="connsiteX169" fmla="*/ 1122322 w 42198532"/>
              <a:gd name="connsiteY169" fmla="*/ 5532990 h 7004830"/>
              <a:gd name="connsiteX170" fmla="*/ 1292682 w 42198532"/>
              <a:gd name="connsiteY170" fmla="*/ 5400511 h 7004830"/>
              <a:gd name="connsiteX171" fmla="*/ 1285583 w 42198532"/>
              <a:gd name="connsiteY171" fmla="*/ 5390260 h 7004830"/>
              <a:gd name="connsiteX172" fmla="*/ 1116013 w 42198532"/>
              <a:gd name="connsiteY172" fmla="*/ 5521161 h 7004830"/>
              <a:gd name="connsiteX173" fmla="*/ 750844 w 42198532"/>
              <a:gd name="connsiteY173" fmla="*/ 5243588 h 7004830"/>
              <a:gd name="connsiteX174" fmla="*/ 1025312 w 42198532"/>
              <a:gd name="connsiteY174" fmla="*/ 5030676 h 7004830"/>
              <a:gd name="connsiteX175" fmla="*/ 1110492 w 42198532"/>
              <a:gd name="connsiteY175" fmla="*/ 4965225 h 7004830"/>
              <a:gd name="connsiteX176" fmla="*/ 1475660 w 42198532"/>
              <a:gd name="connsiteY176" fmla="*/ 5242799 h 7004830"/>
              <a:gd name="connsiteX177" fmla="*/ 1285583 w 42198532"/>
              <a:gd name="connsiteY177" fmla="*/ 5389472 h 7004830"/>
              <a:gd name="connsiteX178" fmla="*/ 1293470 w 42198532"/>
              <a:gd name="connsiteY178" fmla="*/ 5400511 h 7004830"/>
              <a:gd name="connsiteX179" fmla="*/ 1484336 w 42198532"/>
              <a:gd name="connsiteY179" fmla="*/ 5252262 h 7004830"/>
              <a:gd name="connsiteX180" fmla="*/ 1484336 w 42198532"/>
              <a:gd name="connsiteY180" fmla="*/ 5426534 h 7004830"/>
              <a:gd name="connsiteX181" fmla="*/ 1497744 w 42198532"/>
              <a:gd name="connsiteY181" fmla="*/ 5424168 h 7004830"/>
              <a:gd name="connsiteX182" fmla="*/ 1497744 w 42198532"/>
              <a:gd name="connsiteY182" fmla="*/ 5246742 h 7004830"/>
              <a:gd name="connsiteX183" fmla="*/ 1513518 w 42198532"/>
              <a:gd name="connsiteY183" fmla="*/ 5234125 h 7004830"/>
              <a:gd name="connsiteX184" fmla="*/ 1513518 w 42198532"/>
              <a:gd name="connsiteY184" fmla="*/ 5217565 h 7004830"/>
              <a:gd name="connsiteX185" fmla="*/ 1495378 w 42198532"/>
              <a:gd name="connsiteY185" fmla="*/ 5231759 h 7004830"/>
              <a:gd name="connsiteX186" fmla="*/ 1495378 w 42198532"/>
              <a:gd name="connsiteY186" fmla="*/ 4885580 h 7004830"/>
              <a:gd name="connsiteX187" fmla="*/ 1513518 w 42198532"/>
              <a:gd name="connsiteY187" fmla="*/ 4871386 h 7004830"/>
              <a:gd name="connsiteX188" fmla="*/ 1513518 w 42198532"/>
              <a:gd name="connsiteY188" fmla="*/ 4854826 h 7004830"/>
              <a:gd name="connsiteX189" fmla="*/ 1489068 w 42198532"/>
              <a:gd name="connsiteY189" fmla="*/ 4873752 h 7004830"/>
              <a:gd name="connsiteX190" fmla="*/ 1123900 w 42198532"/>
              <a:gd name="connsiteY190" fmla="*/ 4596178 h 7004830"/>
              <a:gd name="connsiteX191" fmla="*/ 1488280 w 42198532"/>
              <a:gd name="connsiteY191" fmla="*/ 4313873 h 7004830"/>
              <a:gd name="connsiteX192" fmla="*/ 1853448 w 42198532"/>
              <a:gd name="connsiteY192" fmla="*/ 4591447 h 7004830"/>
              <a:gd name="connsiteX193" fmla="*/ 1514307 w 42198532"/>
              <a:gd name="connsiteY193" fmla="*/ 4854826 h 7004830"/>
              <a:gd name="connsiteX194" fmla="*/ 1514307 w 42198532"/>
              <a:gd name="connsiteY194" fmla="*/ 4870598 h 7004830"/>
              <a:gd name="connsiteX195" fmla="*/ 1857392 w 42198532"/>
              <a:gd name="connsiteY195" fmla="*/ 4604852 h 7004830"/>
              <a:gd name="connsiteX196" fmla="*/ 1857392 w 42198532"/>
              <a:gd name="connsiteY196" fmla="*/ 4951031 h 7004830"/>
              <a:gd name="connsiteX197" fmla="*/ 1514307 w 42198532"/>
              <a:gd name="connsiteY197" fmla="*/ 5217565 h 7004830"/>
              <a:gd name="connsiteX198" fmla="*/ 1514307 w 42198532"/>
              <a:gd name="connsiteY198" fmla="*/ 5234125 h 7004830"/>
              <a:gd name="connsiteX199" fmla="*/ 1870800 w 42198532"/>
              <a:gd name="connsiteY199" fmla="*/ 4957339 h 7004830"/>
              <a:gd name="connsiteX200" fmla="*/ 1870800 w 42198532"/>
              <a:gd name="connsiteY200" fmla="*/ 4588292 h 7004830"/>
              <a:gd name="connsiteX201" fmla="*/ 1497744 w 42198532"/>
              <a:gd name="connsiteY201" fmla="*/ 4304410 h 7004830"/>
              <a:gd name="connsiteX202" fmla="*/ 1497744 w 42198532"/>
              <a:gd name="connsiteY202" fmla="*/ 3956654 h 7004830"/>
              <a:gd name="connsiteX203" fmla="*/ 1484336 w 42198532"/>
              <a:gd name="connsiteY203" fmla="*/ 3966905 h 7004830"/>
              <a:gd name="connsiteX204" fmla="*/ 1484336 w 42198532"/>
              <a:gd name="connsiteY204" fmla="*/ 4299679 h 7004830"/>
              <a:gd name="connsiteX205" fmla="*/ 1122322 w 42198532"/>
              <a:gd name="connsiteY205" fmla="*/ 4579618 h 7004830"/>
              <a:gd name="connsiteX206" fmla="*/ 1122322 w 42198532"/>
              <a:gd name="connsiteY206" fmla="*/ 4233439 h 7004830"/>
              <a:gd name="connsiteX207" fmla="*/ 1484336 w 42198532"/>
              <a:gd name="connsiteY207" fmla="*/ 3952712 h 7004830"/>
              <a:gd name="connsiteX208" fmla="*/ 1484336 w 42198532"/>
              <a:gd name="connsiteY208" fmla="*/ 3966117 h 7004830"/>
              <a:gd name="connsiteX209" fmla="*/ 1497744 w 42198532"/>
              <a:gd name="connsiteY209" fmla="*/ 3955866 h 7004830"/>
              <a:gd name="connsiteX210" fmla="*/ 1497744 w 42198532"/>
              <a:gd name="connsiteY210" fmla="*/ 3936152 h 7004830"/>
              <a:gd name="connsiteX211" fmla="*/ 1136519 w 42198532"/>
              <a:gd name="connsiteY211" fmla="*/ 3661732 h 7004830"/>
              <a:gd name="connsiteX212" fmla="*/ 1125477 w 42198532"/>
              <a:gd name="connsiteY212" fmla="*/ 3669618 h 7004830"/>
              <a:gd name="connsiteX213" fmla="*/ 1135730 w 42198532"/>
              <a:gd name="connsiteY213" fmla="*/ 3660943 h 7004830"/>
              <a:gd name="connsiteX214" fmla="*/ 1119956 w 42198532"/>
              <a:gd name="connsiteY214" fmla="*/ 3649115 h 7004830"/>
              <a:gd name="connsiteX215" fmla="*/ 1119956 w 42198532"/>
              <a:gd name="connsiteY215" fmla="*/ 3637286 h 7004830"/>
              <a:gd name="connsiteX216" fmla="*/ 1106548 w 42198532"/>
              <a:gd name="connsiteY216" fmla="*/ 3637286 h 7004830"/>
              <a:gd name="connsiteX217" fmla="*/ 1106548 w 42198532"/>
              <a:gd name="connsiteY217" fmla="*/ 3649903 h 7004830"/>
              <a:gd name="connsiteX218" fmla="*/ 744534 w 42198532"/>
              <a:gd name="connsiteY218" fmla="*/ 3929843 h 7004830"/>
              <a:gd name="connsiteX219" fmla="*/ 744534 w 42198532"/>
              <a:gd name="connsiteY219" fmla="*/ 3612841 h 7004830"/>
              <a:gd name="connsiteX220" fmla="*/ 744534 w 42198532"/>
              <a:gd name="connsiteY220" fmla="*/ 3584453 h 7004830"/>
              <a:gd name="connsiteX221" fmla="*/ 1106548 w 42198532"/>
              <a:gd name="connsiteY221" fmla="*/ 3303725 h 7004830"/>
              <a:gd name="connsiteX222" fmla="*/ 1106548 w 42198532"/>
              <a:gd name="connsiteY222" fmla="*/ 3617573 h 7004830"/>
              <a:gd name="connsiteX223" fmla="*/ 1106548 w 42198532"/>
              <a:gd name="connsiteY223" fmla="*/ 3636498 h 7004830"/>
              <a:gd name="connsiteX224" fmla="*/ 1119956 w 42198532"/>
              <a:gd name="connsiteY224" fmla="*/ 3636498 h 7004830"/>
              <a:gd name="connsiteX225" fmla="*/ 1119956 w 42198532"/>
              <a:gd name="connsiteY225" fmla="*/ 3298205 h 7004830"/>
              <a:gd name="connsiteX226" fmla="*/ 1392847 w 42198532"/>
              <a:gd name="connsiteY226" fmla="*/ 3086870 h 7004830"/>
              <a:gd name="connsiteX227" fmla="*/ 1483547 w 42198532"/>
              <a:gd name="connsiteY227" fmla="*/ 3016688 h 7004830"/>
              <a:gd name="connsiteX228" fmla="*/ 1862913 w 42198532"/>
              <a:gd name="connsiteY228" fmla="*/ 3304513 h 7004830"/>
              <a:gd name="connsiteX229" fmla="*/ 2243855 w 42198532"/>
              <a:gd name="connsiteY229" fmla="*/ 3008803 h 7004830"/>
              <a:gd name="connsiteX230" fmla="*/ 2243855 w 42198532"/>
              <a:gd name="connsiteY230" fmla="*/ 2891307 h 7004830"/>
              <a:gd name="connsiteX231" fmla="*/ 2231236 w 42198532"/>
              <a:gd name="connsiteY231" fmla="*/ 2896827 h 7004830"/>
              <a:gd name="connsiteX232" fmla="*/ 2231236 w 42198532"/>
              <a:gd name="connsiteY232" fmla="*/ 3002494 h 7004830"/>
              <a:gd name="connsiteX233" fmla="*/ 1869222 w 42198532"/>
              <a:gd name="connsiteY233" fmla="*/ 3283222 h 7004830"/>
              <a:gd name="connsiteX234" fmla="*/ 1869222 w 42198532"/>
              <a:gd name="connsiteY234" fmla="*/ 2937043 h 7004830"/>
              <a:gd name="connsiteX235" fmla="*/ 2231236 w 42198532"/>
              <a:gd name="connsiteY235" fmla="*/ 2656315 h 7004830"/>
              <a:gd name="connsiteX236" fmla="*/ 2231236 w 42198532"/>
              <a:gd name="connsiteY236" fmla="*/ 2896038 h 7004830"/>
              <a:gd name="connsiteX237" fmla="*/ 2243855 w 42198532"/>
              <a:gd name="connsiteY237" fmla="*/ 2890518 h 7004830"/>
              <a:gd name="connsiteX238" fmla="*/ 2243855 w 42198532"/>
              <a:gd name="connsiteY238" fmla="*/ 2639755 h 7004830"/>
              <a:gd name="connsiteX239" fmla="*/ 2113720 w 42198532"/>
              <a:gd name="connsiteY239" fmla="*/ 2540397 h 7004830"/>
              <a:gd name="connsiteX240" fmla="*/ 2100312 w 42198532"/>
              <a:gd name="connsiteY240" fmla="*/ 2546705 h 7004830"/>
              <a:gd name="connsiteX241" fmla="*/ 2226503 w 42198532"/>
              <a:gd name="connsiteY241" fmla="*/ 2642910 h 7004830"/>
              <a:gd name="connsiteX242" fmla="*/ 1862124 w 42198532"/>
              <a:gd name="connsiteY242" fmla="*/ 2925215 h 7004830"/>
              <a:gd name="connsiteX243" fmla="*/ 1496955 w 42198532"/>
              <a:gd name="connsiteY243" fmla="*/ 2647641 h 7004830"/>
              <a:gd name="connsiteX244" fmla="*/ 1861335 w 42198532"/>
              <a:gd name="connsiteY244" fmla="*/ 2365336 h 7004830"/>
              <a:gd name="connsiteX245" fmla="*/ 2099523 w 42198532"/>
              <a:gd name="connsiteY245" fmla="*/ 2545916 h 7004830"/>
              <a:gd name="connsiteX246" fmla="*/ 2112931 w 42198532"/>
              <a:gd name="connsiteY246" fmla="*/ 2539608 h 7004830"/>
              <a:gd name="connsiteX247" fmla="*/ 1870800 w 42198532"/>
              <a:gd name="connsiteY247" fmla="*/ 2355873 h 7004830"/>
              <a:gd name="connsiteX248" fmla="*/ 1870800 w 42198532"/>
              <a:gd name="connsiteY248" fmla="*/ 2176869 h 7004830"/>
              <a:gd name="connsiteX249" fmla="*/ 1857392 w 42198532"/>
              <a:gd name="connsiteY249" fmla="*/ 2178447 h 7004830"/>
              <a:gd name="connsiteX250" fmla="*/ 1857392 w 42198532"/>
              <a:gd name="connsiteY250" fmla="*/ 2350353 h 7004830"/>
              <a:gd name="connsiteX251" fmla="*/ 1496167 w 42198532"/>
              <a:gd name="connsiteY251" fmla="*/ 2631081 h 7004830"/>
              <a:gd name="connsiteX252" fmla="*/ 1496167 w 42198532"/>
              <a:gd name="connsiteY252" fmla="*/ 2284114 h 7004830"/>
              <a:gd name="connsiteX253" fmla="*/ 1666526 w 42198532"/>
              <a:gd name="connsiteY253" fmla="*/ 2152424 h 7004830"/>
              <a:gd name="connsiteX254" fmla="*/ 1658639 w 42198532"/>
              <a:gd name="connsiteY254" fmla="*/ 2141384 h 7004830"/>
              <a:gd name="connsiteX255" fmla="*/ 1666526 w 42198532"/>
              <a:gd name="connsiteY255" fmla="*/ 2151636 h 7004830"/>
              <a:gd name="connsiteX256" fmla="*/ 1857392 w 42198532"/>
              <a:gd name="connsiteY256" fmla="*/ 2003386 h 7004830"/>
              <a:gd name="connsiteX257" fmla="*/ 1857392 w 42198532"/>
              <a:gd name="connsiteY257" fmla="*/ 2177658 h 7004830"/>
              <a:gd name="connsiteX258" fmla="*/ 1870800 w 42198532"/>
              <a:gd name="connsiteY258" fmla="*/ 2176081 h 7004830"/>
              <a:gd name="connsiteX259" fmla="*/ 1870800 w 42198532"/>
              <a:gd name="connsiteY259" fmla="*/ 1998654 h 7004830"/>
              <a:gd name="connsiteX260" fmla="*/ 1886574 w 42198532"/>
              <a:gd name="connsiteY260" fmla="*/ 1986037 h 7004830"/>
              <a:gd name="connsiteX261" fmla="*/ 1886574 w 42198532"/>
              <a:gd name="connsiteY261" fmla="*/ 1969478 h 7004830"/>
              <a:gd name="connsiteX262" fmla="*/ 1869222 w 42198532"/>
              <a:gd name="connsiteY262" fmla="*/ 1982883 h 7004830"/>
              <a:gd name="connsiteX263" fmla="*/ 1869222 w 42198532"/>
              <a:gd name="connsiteY263" fmla="*/ 1636704 h 7004830"/>
              <a:gd name="connsiteX264" fmla="*/ 1886574 w 42198532"/>
              <a:gd name="connsiteY264" fmla="*/ 1623299 h 7004830"/>
              <a:gd name="connsiteX265" fmla="*/ 1886574 w 42198532"/>
              <a:gd name="connsiteY265" fmla="*/ 1606739 h 7004830"/>
              <a:gd name="connsiteX266" fmla="*/ 1862124 w 42198532"/>
              <a:gd name="connsiteY266" fmla="*/ 1625665 h 7004830"/>
              <a:gd name="connsiteX267" fmla="*/ 1496955 w 42198532"/>
              <a:gd name="connsiteY267" fmla="*/ 1348091 h 7004830"/>
              <a:gd name="connsiteX268" fmla="*/ 1861335 w 42198532"/>
              <a:gd name="connsiteY268" fmla="*/ 1064997 h 7004830"/>
              <a:gd name="connsiteX269" fmla="*/ 2226503 w 42198532"/>
              <a:gd name="connsiteY269" fmla="*/ 1342571 h 7004830"/>
              <a:gd name="connsiteX270" fmla="*/ 1887362 w 42198532"/>
              <a:gd name="connsiteY270" fmla="*/ 1605951 h 7004830"/>
              <a:gd name="connsiteX271" fmla="*/ 1887362 w 42198532"/>
              <a:gd name="connsiteY271" fmla="*/ 1622510 h 7004830"/>
              <a:gd name="connsiteX272" fmla="*/ 2231236 w 42198532"/>
              <a:gd name="connsiteY272" fmla="*/ 1355976 h 7004830"/>
              <a:gd name="connsiteX273" fmla="*/ 2231236 w 42198532"/>
              <a:gd name="connsiteY273" fmla="*/ 1702944 h 7004830"/>
              <a:gd name="connsiteX274" fmla="*/ 1887362 w 42198532"/>
              <a:gd name="connsiteY274" fmla="*/ 1968689 h 7004830"/>
              <a:gd name="connsiteX275" fmla="*/ 1887362 w 42198532"/>
              <a:gd name="connsiteY275" fmla="*/ 1985249 h 7004830"/>
              <a:gd name="connsiteX276" fmla="*/ 2243855 w 42198532"/>
              <a:gd name="connsiteY276" fmla="*/ 1709252 h 7004830"/>
              <a:gd name="connsiteX277" fmla="*/ 2243855 w 42198532"/>
              <a:gd name="connsiteY277" fmla="*/ 1339416 h 7004830"/>
              <a:gd name="connsiteX278" fmla="*/ 1870800 w 42198532"/>
              <a:gd name="connsiteY278" fmla="*/ 1056323 h 7004830"/>
              <a:gd name="connsiteX279" fmla="*/ 1870800 w 42198532"/>
              <a:gd name="connsiteY279" fmla="*/ 707778 h 7004830"/>
              <a:gd name="connsiteX280" fmla="*/ 1857392 w 42198532"/>
              <a:gd name="connsiteY280" fmla="*/ 718030 h 7004830"/>
              <a:gd name="connsiteX281" fmla="*/ 1857392 w 42198532"/>
              <a:gd name="connsiteY281" fmla="*/ 1050803 h 7004830"/>
              <a:gd name="connsiteX282" fmla="*/ 1496167 w 42198532"/>
              <a:gd name="connsiteY282" fmla="*/ 1331531 h 7004830"/>
              <a:gd name="connsiteX283" fmla="*/ 1496167 w 42198532"/>
              <a:gd name="connsiteY283" fmla="*/ 985352 h 7004830"/>
              <a:gd name="connsiteX284" fmla="*/ 1857392 w 42198532"/>
              <a:gd name="connsiteY284" fmla="*/ 704624 h 7004830"/>
              <a:gd name="connsiteX285" fmla="*/ 1857392 w 42198532"/>
              <a:gd name="connsiteY285" fmla="*/ 717241 h 7004830"/>
              <a:gd name="connsiteX286" fmla="*/ 1870800 w 42198532"/>
              <a:gd name="connsiteY286" fmla="*/ 706990 h 7004830"/>
              <a:gd name="connsiteX287" fmla="*/ 1870800 w 42198532"/>
              <a:gd name="connsiteY287" fmla="*/ 688064 h 7004830"/>
              <a:gd name="connsiteX288" fmla="*/ 1509574 w 42198532"/>
              <a:gd name="connsiteY288" fmla="*/ 412856 h 7004830"/>
              <a:gd name="connsiteX289" fmla="*/ 1498533 w 42198532"/>
              <a:gd name="connsiteY289" fmla="*/ 421530 h 7004830"/>
              <a:gd name="connsiteX290" fmla="*/ 1508786 w 42198532"/>
              <a:gd name="connsiteY290" fmla="*/ 412856 h 7004830"/>
              <a:gd name="connsiteX291" fmla="*/ 1493012 w 42198532"/>
              <a:gd name="connsiteY291" fmla="*/ 401028 h 7004830"/>
              <a:gd name="connsiteX292" fmla="*/ 1493012 w 42198532"/>
              <a:gd name="connsiteY292" fmla="*/ 119417 h 7004830"/>
              <a:gd name="connsiteX293" fmla="*/ 1493012 w 42198532"/>
              <a:gd name="connsiteY293" fmla="*/ 117464 h 7004830"/>
              <a:gd name="connsiteX294" fmla="*/ 1398859 w 42198532"/>
              <a:gd name="connsiteY294" fmla="*/ 117464 h 7004830"/>
              <a:gd name="connsiteX295" fmla="*/ 1480393 w 42198532"/>
              <a:gd name="connsiteY295" fmla="*/ 117464 h 7004830"/>
              <a:gd name="connsiteX296" fmla="*/ 1480393 w 42198532"/>
              <a:gd name="connsiteY296" fmla="*/ 201868 h 7004830"/>
              <a:gd name="connsiteX297" fmla="*/ 1480393 w 42198532"/>
              <a:gd name="connsiteY297" fmla="*/ 401028 h 7004830"/>
              <a:gd name="connsiteX298" fmla="*/ 1118379 w 42198532"/>
              <a:gd name="connsiteY298" fmla="*/ 681756 h 7004830"/>
              <a:gd name="connsiteX299" fmla="*/ 1118379 w 42198532"/>
              <a:gd name="connsiteY299" fmla="*/ 335577 h 7004830"/>
              <a:gd name="connsiteX300" fmla="*/ 1379242 w 42198532"/>
              <a:gd name="connsiteY300" fmla="*/ 132719 h 7004830"/>
              <a:gd name="connsiteX301" fmla="*/ 1398859 w 42198532"/>
              <a:gd name="connsiteY301" fmla="*/ 117464 h 7004830"/>
              <a:gd name="connsiteX302" fmla="*/ 840168 w 42198532"/>
              <a:gd name="connsiteY302" fmla="*/ 117464 h 7004830"/>
              <a:gd name="connsiteX303" fmla="*/ 1377550 w 42198532"/>
              <a:gd name="connsiteY303" fmla="*/ 117464 h 7004830"/>
              <a:gd name="connsiteX304" fmla="*/ 1301753 w 42198532"/>
              <a:gd name="connsiteY304" fmla="*/ 176360 h 7004830"/>
              <a:gd name="connsiteX305" fmla="*/ 1112069 w 42198532"/>
              <a:gd name="connsiteY305" fmla="*/ 323748 h 7004830"/>
              <a:gd name="connsiteX306" fmla="*/ 857417 w 42198532"/>
              <a:gd name="connsiteY306" fmla="*/ 130551 h 7004830"/>
              <a:gd name="connsiteX307" fmla="*/ 840168 w 42198532"/>
              <a:gd name="connsiteY307" fmla="*/ 117464 h 7004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Lst>
            <a:rect l="l" t="t" r="r" b="b"/>
            <a:pathLst>
              <a:path w="42198532" h="7004830">
                <a:moveTo>
                  <a:pt x="738225" y="6911396"/>
                </a:moveTo>
                <a:lnTo>
                  <a:pt x="814828" y="6969750"/>
                </a:lnTo>
                <a:lnTo>
                  <a:pt x="822329" y="6975464"/>
                </a:lnTo>
                <a:lnTo>
                  <a:pt x="655724" y="6975464"/>
                </a:lnTo>
                <a:lnTo>
                  <a:pt x="656989" y="6974481"/>
                </a:lnTo>
                <a:lnTo>
                  <a:pt x="738225" y="6911396"/>
                </a:lnTo>
                <a:close/>
                <a:moveTo>
                  <a:pt x="733493" y="6551812"/>
                </a:moveTo>
                <a:lnTo>
                  <a:pt x="733493" y="6897991"/>
                </a:lnTo>
                <a:lnTo>
                  <a:pt x="639637" y="6970539"/>
                </a:lnTo>
                <a:cubicBezTo>
                  <a:pt x="645158" y="6972116"/>
                  <a:pt x="650679" y="6972904"/>
                  <a:pt x="656989" y="6974481"/>
                </a:cubicBezTo>
                <a:cubicBezTo>
                  <a:pt x="650679" y="6973693"/>
                  <a:pt x="644369" y="6972116"/>
                  <a:pt x="638848" y="6971327"/>
                </a:cubicBezTo>
                <a:lnTo>
                  <a:pt x="633515" y="6975464"/>
                </a:lnTo>
                <a:lnTo>
                  <a:pt x="371479" y="6975464"/>
                </a:lnTo>
                <a:lnTo>
                  <a:pt x="371479" y="6917056"/>
                </a:lnTo>
                <a:lnTo>
                  <a:pt x="371479" y="6832540"/>
                </a:lnTo>
                <a:lnTo>
                  <a:pt x="733493" y="6551812"/>
                </a:lnTo>
                <a:close/>
                <a:moveTo>
                  <a:pt x="1106548" y="5904403"/>
                </a:moveTo>
                <a:lnTo>
                  <a:pt x="1106548" y="6251370"/>
                </a:lnTo>
                <a:lnTo>
                  <a:pt x="1012693" y="6323918"/>
                </a:lnTo>
                <a:lnTo>
                  <a:pt x="744534" y="6531309"/>
                </a:lnTo>
                <a:lnTo>
                  <a:pt x="744534" y="6185131"/>
                </a:lnTo>
                <a:lnTo>
                  <a:pt x="873093" y="6085772"/>
                </a:lnTo>
                <a:lnTo>
                  <a:pt x="1106548" y="5904403"/>
                </a:lnTo>
                <a:close/>
                <a:moveTo>
                  <a:pt x="1739875" y="5788484"/>
                </a:moveTo>
                <a:lnTo>
                  <a:pt x="1726467" y="5794792"/>
                </a:lnTo>
                <a:lnTo>
                  <a:pt x="1739875" y="5788484"/>
                </a:lnTo>
                <a:close/>
                <a:moveTo>
                  <a:pt x="1488280" y="5613423"/>
                </a:moveTo>
                <a:lnTo>
                  <a:pt x="1726467" y="5794792"/>
                </a:lnTo>
                <a:lnTo>
                  <a:pt x="1853448" y="5890997"/>
                </a:lnTo>
                <a:lnTo>
                  <a:pt x="1489068" y="6174091"/>
                </a:lnTo>
                <a:lnTo>
                  <a:pt x="1123900" y="5896517"/>
                </a:lnTo>
                <a:lnTo>
                  <a:pt x="1488280" y="5613423"/>
                </a:lnTo>
                <a:close/>
                <a:moveTo>
                  <a:pt x="359648" y="4965225"/>
                </a:moveTo>
                <a:lnTo>
                  <a:pt x="724817" y="5242799"/>
                </a:lnTo>
                <a:lnTo>
                  <a:pt x="487418" y="5426534"/>
                </a:lnTo>
                <a:lnTo>
                  <a:pt x="493727" y="5437574"/>
                </a:lnTo>
                <a:lnTo>
                  <a:pt x="733493" y="5252262"/>
                </a:lnTo>
                <a:lnTo>
                  <a:pt x="733493" y="5598440"/>
                </a:lnTo>
                <a:lnTo>
                  <a:pt x="633328" y="5675720"/>
                </a:lnTo>
                <a:lnTo>
                  <a:pt x="641215" y="5688337"/>
                </a:lnTo>
                <a:lnTo>
                  <a:pt x="737436" y="5613423"/>
                </a:lnTo>
                <a:lnTo>
                  <a:pt x="1102605" y="5890997"/>
                </a:lnTo>
                <a:lnTo>
                  <a:pt x="866783" y="6073943"/>
                </a:lnTo>
                <a:lnTo>
                  <a:pt x="873093" y="6085772"/>
                </a:lnTo>
                <a:lnTo>
                  <a:pt x="865994" y="6074732"/>
                </a:lnTo>
                <a:lnTo>
                  <a:pt x="738225" y="6174091"/>
                </a:lnTo>
                <a:lnTo>
                  <a:pt x="373056" y="5896517"/>
                </a:lnTo>
                <a:lnTo>
                  <a:pt x="640426" y="5689125"/>
                </a:lnTo>
                <a:lnTo>
                  <a:pt x="633328" y="5676508"/>
                </a:lnTo>
                <a:lnTo>
                  <a:pt x="371479" y="5879169"/>
                </a:lnTo>
                <a:lnTo>
                  <a:pt x="371479" y="5532990"/>
                </a:lnTo>
                <a:lnTo>
                  <a:pt x="493727" y="5438362"/>
                </a:lnTo>
                <a:lnTo>
                  <a:pt x="486629" y="5426534"/>
                </a:lnTo>
                <a:lnTo>
                  <a:pt x="365169" y="5521161"/>
                </a:lnTo>
                <a:lnTo>
                  <a:pt x="0" y="5243588"/>
                </a:lnTo>
                <a:lnTo>
                  <a:pt x="359648" y="4965225"/>
                </a:lnTo>
                <a:close/>
                <a:moveTo>
                  <a:pt x="1106548" y="4604852"/>
                </a:moveTo>
                <a:lnTo>
                  <a:pt x="1106548" y="4951031"/>
                </a:lnTo>
                <a:lnTo>
                  <a:pt x="1018214" y="5019636"/>
                </a:lnTo>
                <a:lnTo>
                  <a:pt x="1025312" y="5030676"/>
                </a:lnTo>
                <a:lnTo>
                  <a:pt x="1017425" y="5020424"/>
                </a:lnTo>
                <a:lnTo>
                  <a:pt x="744534" y="5231759"/>
                </a:lnTo>
                <a:lnTo>
                  <a:pt x="744534" y="4885580"/>
                </a:lnTo>
                <a:lnTo>
                  <a:pt x="856530" y="4798050"/>
                </a:lnTo>
                <a:lnTo>
                  <a:pt x="849432" y="4787799"/>
                </a:lnTo>
                <a:lnTo>
                  <a:pt x="857319" y="4798050"/>
                </a:lnTo>
                <a:lnTo>
                  <a:pt x="1106548" y="4604852"/>
                </a:lnTo>
                <a:close/>
                <a:moveTo>
                  <a:pt x="737436" y="4313873"/>
                </a:moveTo>
                <a:lnTo>
                  <a:pt x="1102605" y="4591447"/>
                </a:lnTo>
                <a:lnTo>
                  <a:pt x="849432" y="4787799"/>
                </a:lnTo>
                <a:lnTo>
                  <a:pt x="738225" y="4873752"/>
                </a:lnTo>
                <a:lnTo>
                  <a:pt x="373056" y="4596178"/>
                </a:lnTo>
                <a:lnTo>
                  <a:pt x="737436" y="4313873"/>
                </a:lnTo>
                <a:close/>
                <a:moveTo>
                  <a:pt x="1115224" y="3661732"/>
                </a:moveTo>
                <a:lnTo>
                  <a:pt x="1125477" y="3669618"/>
                </a:lnTo>
                <a:lnTo>
                  <a:pt x="1480393" y="3939306"/>
                </a:lnTo>
                <a:lnTo>
                  <a:pt x="1116013" y="4222399"/>
                </a:lnTo>
                <a:lnTo>
                  <a:pt x="750844" y="3944037"/>
                </a:lnTo>
                <a:lnTo>
                  <a:pt x="1115224" y="3661732"/>
                </a:lnTo>
                <a:close/>
                <a:moveTo>
                  <a:pt x="1480393" y="2656315"/>
                </a:moveTo>
                <a:lnTo>
                  <a:pt x="1480393" y="3002494"/>
                </a:lnTo>
                <a:lnTo>
                  <a:pt x="1386537" y="3075042"/>
                </a:lnTo>
                <a:lnTo>
                  <a:pt x="1392847" y="3086870"/>
                </a:lnTo>
                <a:lnTo>
                  <a:pt x="1385748" y="3075830"/>
                </a:lnTo>
                <a:lnTo>
                  <a:pt x="1118379" y="3283222"/>
                </a:lnTo>
                <a:lnTo>
                  <a:pt x="1118379" y="2937043"/>
                </a:lnTo>
                <a:lnTo>
                  <a:pt x="1246148" y="2837685"/>
                </a:lnTo>
                <a:lnTo>
                  <a:pt x="1239839" y="2825856"/>
                </a:lnTo>
                <a:lnTo>
                  <a:pt x="1246937" y="2836896"/>
                </a:lnTo>
                <a:lnTo>
                  <a:pt x="1480393" y="2656315"/>
                </a:lnTo>
                <a:close/>
                <a:moveTo>
                  <a:pt x="732704" y="1716349"/>
                </a:moveTo>
                <a:lnTo>
                  <a:pt x="1097873" y="1993923"/>
                </a:lnTo>
                <a:lnTo>
                  <a:pt x="860473" y="2177658"/>
                </a:lnTo>
                <a:lnTo>
                  <a:pt x="867572" y="2189486"/>
                </a:lnTo>
                <a:lnTo>
                  <a:pt x="1106548" y="2003386"/>
                </a:lnTo>
                <a:lnTo>
                  <a:pt x="1106548" y="2350353"/>
                </a:lnTo>
                <a:lnTo>
                  <a:pt x="1007172" y="2427632"/>
                </a:lnTo>
                <a:lnTo>
                  <a:pt x="1014270" y="2440249"/>
                </a:lnTo>
                <a:lnTo>
                  <a:pt x="1110492" y="2365336"/>
                </a:lnTo>
                <a:lnTo>
                  <a:pt x="1475660" y="2642910"/>
                </a:lnTo>
                <a:lnTo>
                  <a:pt x="1239839" y="2825856"/>
                </a:lnTo>
                <a:lnTo>
                  <a:pt x="1112069" y="2925215"/>
                </a:lnTo>
                <a:lnTo>
                  <a:pt x="746900" y="2647641"/>
                </a:lnTo>
                <a:lnTo>
                  <a:pt x="1013481" y="2440249"/>
                </a:lnTo>
                <a:lnTo>
                  <a:pt x="1006383" y="2427632"/>
                </a:lnTo>
                <a:lnTo>
                  <a:pt x="744534" y="2631081"/>
                </a:lnTo>
                <a:lnTo>
                  <a:pt x="744534" y="2284114"/>
                </a:lnTo>
                <a:lnTo>
                  <a:pt x="866783" y="2189486"/>
                </a:lnTo>
                <a:lnTo>
                  <a:pt x="860473" y="2178447"/>
                </a:lnTo>
                <a:lnTo>
                  <a:pt x="738225" y="2273074"/>
                </a:lnTo>
                <a:lnTo>
                  <a:pt x="373056" y="1995500"/>
                </a:lnTo>
                <a:lnTo>
                  <a:pt x="732704" y="1716349"/>
                </a:lnTo>
                <a:close/>
                <a:moveTo>
                  <a:pt x="1480393" y="1355976"/>
                </a:moveTo>
                <a:lnTo>
                  <a:pt x="1480393" y="1702944"/>
                </a:lnTo>
                <a:lnTo>
                  <a:pt x="1391269" y="1771549"/>
                </a:lnTo>
                <a:lnTo>
                  <a:pt x="1399156" y="1781800"/>
                </a:lnTo>
                <a:lnTo>
                  <a:pt x="1483547" y="1716349"/>
                </a:lnTo>
                <a:lnTo>
                  <a:pt x="1848716" y="1993923"/>
                </a:lnTo>
                <a:lnTo>
                  <a:pt x="1658639" y="2141384"/>
                </a:lnTo>
                <a:lnTo>
                  <a:pt x="1489068" y="2273074"/>
                </a:lnTo>
                <a:lnTo>
                  <a:pt x="1123900" y="1995500"/>
                </a:lnTo>
                <a:lnTo>
                  <a:pt x="1398368" y="1782588"/>
                </a:lnTo>
                <a:lnTo>
                  <a:pt x="1390481" y="1771549"/>
                </a:lnTo>
                <a:lnTo>
                  <a:pt x="1118379" y="1982883"/>
                </a:lnTo>
                <a:lnTo>
                  <a:pt x="1118379" y="1636704"/>
                </a:lnTo>
                <a:lnTo>
                  <a:pt x="1230374" y="1549963"/>
                </a:lnTo>
                <a:lnTo>
                  <a:pt x="1480393" y="1355976"/>
                </a:lnTo>
                <a:close/>
                <a:moveTo>
                  <a:pt x="1110492" y="1064997"/>
                </a:moveTo>
                <a:lnTo>
                  <a:pt x="1475660" y="1342571"/>
                </a:lnTo>
                <a:lnTo>
                  <a:pt x="1223276" y="1538923"/>
                </a:lnTo>
                <a:lnTo>
                  <a:pt x="1230374" y="1549963"/>
                </a:lnTo>
                <a:lnTo>
                  <a:pt x="1222487" y="1539711"/>
                </a:lnTo>
                <a:lnTo>
                  <a:pt x="1112069" y="1625665"/>
                </a:lnTo>
                <a:lnTo>
                  <a:pt x="746900" y="1348091"/>
                </a:lnTo>
                <a:lnTo>
                  <a:pt x="1110492" y="1064997"/>
                </a:lnTo>
                <a:close/>
                <a:moveTo>
                  <a:pt x="1488280" y="413645"/>
                </a:moveTo>
                <a:lnTo>
                  <a:pt x="1498533" y="421530"/>
                </a:lnTo>
                <a:lnTo>
                  <a:pt x="1853448" y="691218"/>
                </a:lnTo>
                <a:lnTo>
                  <a:pt x="1489068" y="973524"/>
                </a:lnTo>
                <a:lnTo>
                  <a:pt x="1123900" y="695950"/>
                </a:lnTo>
                <a:lnTo>
                  <a:pt x="1488280" y="413645"/>
                </a:lnTo>
                <a:close/>
                <a:moveTo>
                  <a:pt x="1493012" y="117464"/>
                </a:moveTo>
                <a:lnTo>
                  <a:pt x="42118086" y="0"/>
                </a:lnTo>
                <a:lnTo>
                  <a:pt x="42198532" y="7004830"/>
                </a:lnTo>
                <a:lnTo>
                  <a:pt x="843615" y="6975464"/>
                </a:lnTo>
                <a:lnTo>
                  <a:pt x="810785" y="6950504"/>
                </a:lnTo>
                <a:lnTo>
                  <a:pt x="746900" y="6901934"/>
                </a:lnTo>
                <a:lnTo>
                  <a:pt x="746900" y="6547081"/>
                </a:lnTo>
                <a:lnTo>
                  <a:pt x="1019002" y="6335746"/>
                </a:lnTo>
                <a:lnTo>
                  <a:pt x="1012693" y="6323918"/>
                </a:lnTo>
                <a:lnTo>
                  <a:pt x="1019791" y="6334957"/>
                </a:lnTo>
                <a:lnTo>
                  <a:pt x="1110492" y="6264775"/>
                </a:lnTo>
                <a:lnTo>
                  <a:pt x="1489068" y="6553389"/>
                </a:lnTo>
                <a:lnTo>
                  <a:pt x="1870800" y="6257678"/>
                </a:lnTo>
                <a:lnTo>
                  <a:pt x="1870800" y="6139394"/>
                </a:lnTo>
                <a:lnTo>
                  <a:pt x="1857392" y="6144914"/>
                </a:lnTo>
                <a:lnTo>
                  <a:pt x="1857392" y="6251370"/>
                </a:lnTo>
                <a:lnTo>
                  <a:pt x="1495378" y="6531309"/>
                </a:lnTo>
                <a:lnTo>
                  <a:pt x="1495378" y="6185131"/>
                </a:lnTo>
                <a:lnTo>
                  <a:pt x="1857392" y="5904403"/>
                </a:lnTo>
                <a:lnTo>
                  <a:pt x="1857392" y="6144125"/>
                </a:lnTo>
                <a:lnTo>
                  <a:pt x="1870800" y="6138605"/>
                </a:lnTo>
                <a:lnTo>
                  <a:pt x="1870800" y="5887843"/>
                </a:lnTo>
                <a:lnTo>
                  <a:pt x="1739875" y="5788484"/>
                </a:lnTo>
                <a:lnTo>
                  <a:pt x="1497744" y="5604749"/>
                </a:lnTo>
                <a:lnTo>
                  <a:pt x="1497744" y="5424957"/>
                </a:lnTo>
                <a:lnTo>
                  <a:pt x="1484336" y="5427322"/>
                </a:lnTo>
                <a:lnTo>
                  <a:pt x="1484336" y="5598440"/>
                </a:lnTo>
                <a:lnTo>
                  <a:pt x="1122322" y="5879169"/>
                </a:lnTo>
                <a:lnTo>
                  <a:pt x="1122322" y="5532990"/>
                </a:lnTo>
                <a:lnTo>
                  <a:pt x="1292682" y="5400511"/>
                </a:lnTo>
                <a:lnTo>
                  <a:pt x="1285583" y="5390260"/>
                </a:lnTo>
                <a:lnTo>
                  <a:pt x="1116013" y="5521161"/>
                </a:lnTo>
                <a:lnTo>
                  <a:pt x="750844" y="5243588"/>
                </a:lnTo>
                <a:lnTo>
                  <a:pt x="1025312" y="5030676"/>
                </a:lnTo>
                <a:lnTo>
                  <a:pt x="1110492" y="4965225"/>
                </a:lnTo>
                <a:lnTo>
                  <a:pt x="1475660" y="5242799"/>
                </a:lnTo>
                <a:lnTo>
                  <a:pt x="1285583" y="5389472"/>
                </a:lnTo>
                <a:lnTo>
                  <a:pt x="1293470" y="5400511"/>
                </a:lnTo>
                <a:lnTo>
                  <a:pt x="1484336" y="5252262"/>
                </a:lnTo>
                <a:lnTo>
                  <a:pt x="1484336" y="5426534"/>
                </a:lnTo>
                <a:lnTo>
                  <a:pt x="1497744" y="5424168"/>
                </a:lnTo>
                <a:lnTo>
                  <a:pt x="1497744" y="5246742"/>
                </a:lnTo>
                <a:lnTo>
                  <a:pt x="1513518" y="5234125"/>
                </a:lnTo>
                <a:lnTo>
                  <a:pt x="1513518" y="5217565"/>
                </a:lnTo>
                <a:lnTo>
                  <a:pt x="1495378" y="5231759"/>
                </a:lnTo>
                <a:lnTo>
                  <a:pt x="1495378" y="4885580"/>
                </a:lnTo>
                <a:lnTo>
                  <a:pt x="1513518" y="4871386"/>
                </a:lnTo>
                <a:lnTo>
                  <a:pt x="1513518" y="4854826"/>
                </a:lnTo>
                <a:lnTo>
                  <a:pt x="1489068" y="4873752"/>
                </a:lnTo>
                <a:lnTo>
                  <a:pt x="1123900" y="4596178"/>
                </a:lnTo>
                <a:lnTo>
                  <a:pt x="1488280" y="4313873"/>
                </a:lnTo>
                <a:lnTo>
                  <a:pt x="1853448" y="4591447"/>
                </a:lnTo>
                <a:lnTo>
                  <a:pt x="1514307" y="4854826"/>
                </a:lnTo>
                <a:lnTo>
                  <a:pt x="1514307" y="4870598"/>
                </a:lnTo>
                <a:lnTo>
                  <a:pt x="1857392" y="4604852"/>
                </a:lnTo>
                <a:lnTo>
                  <a:pt x="1857392" y="4951031"/>
                </a:lnTo>
                <a:lnTo>
                  <a:pt x="1514307" y="5217565"/>
                </a:lnTo>
                <a:lnTo>
                  <a:pt x="1514307" y="5234125"/>
                </a:lnTo>
                <a:lnTo>
                  <a:pt x="1870800" y="4957339"/>
                </a:lnTo>
                <a:lnTo>
                  <a:pt x="1870800" y="4588292"/>
                </a:lnTo>
                <a:lnTo>
                  <a:pt x="1497744" y="4304410"/>
                </a:lnTo>
                <a:lnTo>
                  <a:pt x="1497744" y="3956654"/>
                </a:lnTo>
                <a:lnTo>
                  <a:pt x="1484336" y="3966905"/>
                </a:lnTo>
                <a:lnTo>
                  <a:pt x="1484336" y="4299679"/>
                </a:lnTo>
                <a:lnTo>
                  <a:pt x="1122322" y="4579618"/>
                </a:lnTo>
                <a:lnTo>
                  <a:pt x="1122322" y="4233439"/>
                </a:lnTo>
                <a:lnTo>
                  <a:pt x="1484336" y="3952712"/>
                </a:lnTo>
                <a:lnTo>
                  <a:pt x="1484336" y="3966117"/>
                </a:lnTo>
                <a:lnTo>
                  <a:pt x="1497744" y="3955866"/>
                </a:lnTo>
                <a:lnTo>
                  <a:pt x="1497744" y="3936152"/>
                </a:lnTo>
                <a:lnTo>
                  <a:pt x="1136519" y="3661732"/>
                </a:lnTo>
                <a:lnTo>
                  <a:pt x="1125477" y="3669618"/>
                </a:lnTo>
                <a:lnTo>
                  <a:pt x="1135730" y="3660943"/>
                </a:lnTo>
                <a:lnTo>
                  <a:pt x="1119956" y="3649115"/>
                </a:lnTo>
                <a:lnTo>
                  <a:pt x="1119956" y="3637286"/>
                </a:lnTo>
                <a:lnTo>
                  <a:pt x="1106548" y="3637286"/>
                </a:lnTo>
                <a:lnTo>
                  <a:pt x="1106548" y="3649903"/>
                </a:lnTo>
                <a:lnTo>
                  <a:pt x="744534" y="3929843"/>
                </a:lnTo>
                <a:lnTo>
                  <a:pt x="744534" y="3612841"/>
                </a:lnTo>
                <a:lnTo>
                  <a:pt x="744534" y="3584453"/>
                </a:lnTo>
                <a:lnTo>
                  <a:pt x="1106548" y="3303725"/>
                </a:lnTo>
                <a:lnTo>
                  <a:pt x="1106548" y="3617573"/>
                </a:lnTo>
                <a:lnTo>
                  <a:pt x="1106548" y="3636498"/>
                </a:lnTo>
                <a:lnTo>
                  <a:pt x="1119956" y="3636498"/>
                </a:lnTo>
                <a:lnTo>
                  <a:pt x="1119956" y="3298205"/>
                </a:lnTo>
                <a:lnTo>
                  <a:pt x="1392847" y="3086870"/>
                </a:lnTo>
                <a:lnTo>
                  <a:pt x="1483547" y="3016688"/>
                </a:lnTo>
                <a:lnTo>
                  <a:pt x="1862913" y="3304513"/>
                </a:lnTo>
                <a:lnTo>
                  <a:pt x="2243855" y="3008803"/>
                </a:lnTo>
                <a:lnTo>
                  <a:pt x="2243855" y="2891307"/>
                </a:lnTo>
                <a:lnTo>
                  <a:pt x="2231236" y="2896827"/>
                </a:lnTo>
                <a:lnTo>
                  <a:pt x="2231236" y="3002494"/>
                </a:lnTo>
                <a:lnTo>
                  <a:pt x="1869222" y="3283222"/>
                </a:lnTo>
                <a:lnTo>
                  <a:pt x="1869222" y="2937043"/>
                </a:lnTo>
                <a:lnTo>
                  <a:pt x="2231236" y="2656315"/>
                </a:lnTo>
                <a:lnTo>
                  <a:pt x="2231236" y="2896038"/>
                </a:lnTo>
                <a:lnTo>
                  <a:pt x="2243855" y="2890518"/>
                </a:lnTo>
                <a:lnTo>
                  <a:pt x="2243855" y="2639755"/>
                </a:lnTo>
                <a:lnTo>
                  <a:pt x="2113720" y="2540397"/>
                </a:lnTo>
                <a:lnTo>
                  <a:pt x="2100312" y="2546705"/>
                </a:lnTo>
                <a:lnTo>
                  <a:pt x="2226503" y="2642910"/>
                </a:lnTo>
                <a:lnTo>
                  <a:pt x="1862124" y="2925215"/>
                </a:lnTo>
                <a:lnTo>
                  <a:pt x="1496955" y="2647641"/>
                </a:lnTo>
                <a:lnTo>
                  <a:pt x="1861335" y="2365336"/>
                </a:lnTo>
                <a:lnTo>
                  <a:pt x="2099523" y="2545916"/>
                </a:lnTo>
                <a:lnTo>
                  <a:pt x="2112931" y="2539608"/>
                </a:lnTo>
                <a:lnTo>
                  <a:pt x="1870800" y="2355873"/>
                </a:lnTo>
                <a:lnTo>
                  <a:pt x="1870800" y="2176869"/>
                </a:lnTo>
                <a:lnTo>
                  <a:pt x="1857392" y="2178447"/>
                </a:lnTo>
                <a:lnTo>
                  <a:pt x="1857392" y="2350353"/>
                </a:lnTo>
                <a:lnTo>
                  <a:pt x="1496167" y="2631081"/>
                </a:lnTo>
                <a:lnTo>
                  <a:pt x="1496167" y="2284114"/>
                </a:lnTo>
                <a:lnTo>
                  <a:pt x="1666526" y="2152424"/>
                </a:lnTo>
                <a:lnTo>
                  <a:pt x="1658639" y="2141384"/>
                </a:lnTo>
                <a:lnTo>
                  <a:pt x="1666526" y="2151636"/>
                </a:lnTo>
                <a:lnTo>
                  <a:pt x="1857392" y="2003386"/>
                </a:lnTo>
                <a:lnTo>
                  <a:pt x="1857392" y="2177658"/>
                </a:lnTo>
                <a:lnTo>
                  <a:pt x="1870800" y="2176081"/>
                </a:lnTo>
                <a:lnTo>
                  <a:pt x="1870800" y="1998654"/>
                </a:lnTo>
                <a:lnTo>
                  <a:pt x="1886574" y="1986037"/>
                </a:lnTo>
                <a:lnTo>
                  <a:pt x="1886574" y="1969478"/>
                </a:lnTo>
                <a:lnTo>
                  <a:pt x="1869222" y="1982883"/>
                </a:lnTo>
                <a:lnTo>
                  <a:pt x="1869222" y="1636704"/>
                </a:lnTo>
                <a:lnTo>
                  <a:pt x="1886574" y="1623299"/>
                </a:lnTo>
                <a:lnTo>
                  <a:pt x="1886574" y="1606739"/>
                </a:lnTo>
                <a:lnTo>
                  <a:pt x="1862124" y="1625665"/>
                </a:lnTo>
                <a:lnTo>
                  <a:pt x="1496955" y="1348091"/>
                </a:lnTo>
                <a:lnTo>
                  <a:pt x="1861335" y="1064997"/>
                </a:lnTo>
                <a:lnTo>
                  <a:pt x="2226503" y="1342571"/>
                </a:lnTo>
                <a:lnTo>
                  <a:pt x="1887362" y="1605951"/>
                </a:lnTo>
                <a:lnTo>
                  <a:pt x="1887362" y="1622510"/>
                </a:lnTo>
                <a:lnTo>
                  <a:pt x="2231236" y="1355976"/>
                </a:lnTo>
                <a:lnTo>
                  <a:pt x="2231236" y="1702944"/>
                </a:lnTo>
                <a:lnTo>
                  <a:pt x="1887362" y="1968689"/>
                </a:lnTo>
                <a:lnTo>
                  <a:pt x="1887362" y="1985249"/>
                </a:lnTo>
                <a:lnTo>
                  <a:pt x="2243855" y="1709252"/>
                </a:lnTo>
                <a:lnTo>
                  <a:pt x="2243855" y="1339416"/>
                </a:lnTo>
                <a:lnTo>
                  <a:pt x="1870800" y="1056323"/>
                </a:lnTo>
                <a:lnTo>
                  <a:pt x="1870800" y="707778"/>
                </a:lnTo>
                <a:lnTo>
                  <a:pt x="1857392" y="718030"/>
                </a:lnTo>
                <a:lnTo>
                  <a:pt x="1857392" y="1050803"/>
                </a:lnTo>
                <a:lnTo>
                  <a:pt x="1496167" y="1331531"/>
                </a:lnTo>
                <a:lnTo>
                  <a:pt x="1496167" y="985352"/>
                </a:lnTo>
                <a:lnTo>
                  <a:pt x="1857392" y="704624"/>
                </a:lnTo>
                <a:lnTo>
                  <a:pt x="1857392" y="717241"/>
                </a:lnTo>
                <a:lnTo>
                  <a:pt x="1870800" y="706990"/>
                </a:lnTo>
                <a:lnTo>
                  <a:pt x="1870800" y="688064"/>
                </a:lnTo>
                <a:lnTo>
                  <a:pt x="1509574" y="412856"/>
                </a:lnTo>
                <a:lnTo>
                  <a:pt x="1498533" y="421530"/>
                </a:lnTo>
                <a:lnTo>
                  <a:pt x="1508786" y="412856"/>
                </a:lnTo>
                <a:lnTo>
                  <a:pt x="1493012" y="401028"/>
                </a:lnTo>
                <a:lnTo>
                  <a:pt x="1493012" y="119417"/>
                </a:lnTo>
                <a:lnTo>
                  <a:pt x="1493012" y="117464"/>
                </a:lnTo>
                <a:close/>
                <a:moveTo>
                  <a:pt x="1398859" y="117464"/>
                </a:moveTo>
                <a:lnTo>
                  <a:pt x="1480393" y="117464"/>
                </a:lnTo>
                <a:lnTo>
                  <a:pt x="1480393" y="201868"/>
                </a:lnTo>
                <a:lnTo>
                  <a:pt x="1480393" y="401028"/>
                </a:lnTo>
                <a:lnTo>
                  <a:pt x="1118379" y="681756"/>
                </a:lnTo>
                <a:lnTo>
                  <a:pt x="1118379" y="335577"/>
                </a:lnTo>
                <a:lnTo>
                  <a:pt x="1379242" y="132719"/>
                </a:lnTo>
                <a:lnTo>
                  <a:pt x="1398859" y="117464"/>
                </a:lnTo>
                <a:close/>
                <a:moveTo>
                  <a:pt x="840168" y="117464"/>
                </a:moveTo>
                <a:lnTo>
                  <a:pt x="1377550" y="117464"/>
                </a:lnTo>
                <a:lnTo>
                  <a:pt x="1301753" y="176360"/>
                </a:lnTo>
                <a:lnTo>
                  <a:pt x="1112069" y="323748"/>
                </a:lnTo>
                <a:lnTo>
                  <a:pt x="857417" y="130551"/>
                </a:lnTo>
                <a:lnTo>
                  <a:pt x="840168" y="117464"/>
                </a:lnTo>
                <a:close/>
              </a:path>
            </a:pathLst>
          </a:custGeom>
          <a:solidFill>
            <a:schemeClr val="bg1">
              <a:lumMod val="65000"/>
            </a:schemeClr>
          </a:solidFill>
        </p:spPr>
        <p:txBody>
          <a:bodyPr wrap="square" tIns="540000" rIns="540000">
            <a:noAutofit/>
          </a:bodyPr>
          <a:lstStyle>
            <a:lvl1pPr algn="r">
              <a:defRPr>
                <a:solidFill>
                  <a:schemeClr val="accent2">
                    <a:lumMod val="40000"/>
                    <a:lumOff val="60000"/>
                  </a:schemeClr>
                </a:solidFill>
              </a:defRPr>
            </a:lvl1pPr>
          </a:lstStyle>
          <a:p>
            <a:r>
              <a:rPr lang="fr-FR" dirty="0"/>
              <a:t>Insérez ou glissez votre image ici</a:t>
            </a:r>
          </a:p>
        </p:txBody>
      </p:sp>
      <p:sp>
        <p:nvSpPr>
          <p:cNvPr id="2" name="Titre 1">
            <a:extLst>
              <a:ext uri="{FF2B5EF4-FFF2-40B4-BE49-F238E27FC236}">
                <a16:creationId xmlns:a16="http://schemas.microsoft.com/office/drawing/2014/main" id="{D5AF0AE2-7DAE-3EB0-5E60-D2EFCEC2EA43}"/>
              </a:ext>
            </a:extLst>
          </p:cNvPr>
          <p:cNvSpPr>
            <a:spLocks noGrp="1"/>
          </p:cNvSpPr>
          <p:nvPr>
            <p:ph type="title"/>
          </p:nvPr>
        </p:nvSpPr>
        <p:spPr/>
        <p:txBody>
          <a:bodyPr/>
          <a:lstStyle>
            <a:lvl1pPr>
              <a:defRPr>
                <a:solidFill>
                  <a:schemeClr val="tx1"/>
                </a:solidFill>
              </a:defRPr>
            </a:lvl1pPr>
          </a:lstStyle>
          <a:p>
            <a:r>
              <a:rPr lang="fr-FR"/>
              <a:t>Modifiez le style du titre</a:t>
            </a:r>
          </a:p>
        </p:txBody>
      </p:sp>
      <p:sp>
        <p:nvSpPr>
          <p:cNvPr id="11"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3493616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6" name="Espace réservé du numéro de diapositive 5">
            <a:extLst>
              <a:ext uri="{FF2B5EF4-FFF2-40B4-BE49-F238E27FC236}">
                <a16:creationId xmlns:a16="http://schemas.microsoft.com/office/drawing/2014/main" id="{8209301D-2360-8D20-B992-EE6672D60716}"/>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7" name="ZoneTexte 6">
            <a:extLst>
              <a:ext uri="{FF2B5EF4-FFF2-40B4-BE49-F238E27FC236}">
                <a16:creationId xmlns:a16="http://schemas.microsoft.com/office/drawing/2014/main" id="{31680F71-13D8-7F13-2E1C-1B43E34B35C6}"/>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et contenu</a:t>
            </a:r>
          </a:p>
        </p:txBody>
      </p:sp>
      <p:pic>
        <p:nvPicPr>
          <p:cNvPr id="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32F98917-083E-F98C-816F-48F1437B41BD}"/>
              </a:ext>
            </a:extLst>
          </p:cNvPr>
          <p:cNvSpPr>
            <a:spLocks noGrp="1"/>
          </p:cNvSpPr>
          <p:nvPr>
            <p:ph type="title"/>
          </p:nvPr>
        </p:nvSpPr>
        <p:spPr/>
        <p:txBody>
          <a:bodyPr/>
          <a:lstStyle/>
          <a:p>
            <a:r>
              <a:rPr lang="fr-FR"/>
              <a:t>Modifiez le style du titre</a:t>
            </a:r>
          </a:p>
        </p:txBody>
      </p:sp>
      <p:sp>
        <p:nvSpPr>
          <p:cNvPr id="10"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41679408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C234029E-78B3-568C-831F-68645DF6BD30}"/>
              </a:ext>
            </a:extLst>
          </p:cNvPr>
          <p:cNvSpPr>
            <a:spLocks noGrp="1"/>
          </p:cNvSpPr>
          <p:nvPr>
            <p:ph type="dt" sz="half" idx="10"/>
          </p:nvPr>
        </p:nvSpPr>
        <p:spPr/>
        <p:txBody>
          <a:bodyPr/>
          <a:lstStyle/>
          <a:p>
            <a:r>
              <a:rPr lang="fr-FR"/>
              <a:t>28/10/2022</a:t>
            </a:r>
          </a:p>
        </p:txBody>
      </p:sp>
      <p:sp>
        <p:nvSpPr>
          <p:cNvPr id="4" name="Espace réservé du pied de page 3">
            <a:extLst>
              <a:ext uri="{FF2B5EF4-FFF2-40B4-BE49-F238E27FC236}">
                <a16:creationId xmlns:a16="http://schemas.microsoft.com/office/drawing/2014/main" id="{92E4E404-6902-1F6E-82F5-8793054624DE}"/>
              </a:ext>
            </a:extLst>
          </p:cNvPr>
          <p:cNvSpPr>
            <a:spLocks noGrp="1"/>
          </p:cNvSpPr>
          <p:nvPr>
            <p:ph type="ftr" sz="quarter" idx="11"/>
          </p:nvPr>
        </p:nvSpPr>
        <p:spPr/>
        <p:txBody>
          <a:bodyPr/>
          <a:lstStyle/>
          <a:p>
            <a:r>
              <a:rPr lang="fr-FR"/>
              <a:t>Exemple de pied de page (A modifier dans l'onglet "Insertion"/"En-tête/Pied"</a:t>
            </a:r>
          </a:p>
        </p:txBody>
      </p:sp>
      <p:sp>
        <p:nvSpPr>
          <p:cNvPr id="5" name="Espace réservé du numéro de diapositive 4">
            <a:extLst>
              <a:ext uri="{FF2B5EF4-FFF2-40B4-BE49-F238E27FC236}">
                <a16:creationId xmlns:a16="http://schemas.microsoft.com/office/drawing/2014/main" id="{D3998557-AF65-5C65-FBD8-13E2BC977D78}"/>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6" name="ZoneTexte 5">
            <a:extLst>
              <a:ext uri="{FF2B5EF4-FFF2-40B4-BE49-F238E27FC236}">
                <a16:creationId xmlns:a16="http://schemas.microsoft.com/office/drawing/2014/main" id="{1FD8FB8A-BB4D-ADF0-708B-34954439AF19}"/>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seul</a:t>
            </a:r>
          </a:p>
        </p:txBody>
      </p:sp>
      <p:pic>
        <p:nvPicPr>
          <p:cNvPr id="8"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8C593314-5853-721D-C381-C5C6DA55FA41}"/>
              </a:ext>
            </a:extLst>
          </p:cNvPr>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20858212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E9C14385-C06C-03C8-FC0B-6EDE0E294E52}"/>
              </a:ext>
            </a:extLst>
          </p:cNvPr>
          <p:cNvSpPr>
            <a:spLocks noGrp="1"/>
          </p:cNvSpPr>
          <p:nvPr>
            <p:ph type="dt" sz="half" idx="10"/>
          </p:nvPr>
        </p:nvSpPr>
        <p:spPr/>
        <p:txBody>
          <a:bodyPr/>
          <a:lstStyle/>
          <a:p>
            <a:r>
              <a:rPr lang="fr-FR"/>
              <a:t>28/10/2022</a:t>
            </a:r>
          </a:p>
        </p:txBody>
      </p:sp>
      <p:sp>
        <p:nvSpPr>
          <p:cNvPr id="3" name="Espace réservé du pied de page 2">
            <a:extLst>
              <a:ext uri="{FF2B5EF4-FFF2-40B4-BE49-F238E27FC236}">
                <a16:creationId xmlns:a16="http://schemas.microsoft.com/office/drawing/2014/main" id="{C5925030-DB19-61B7-32BA-FFFFADD4FAB2}"/>
              </a:ext>
            </a:extLst>
          </p:cNvPr>
          <p:cNvSpPr>
            <a:spLocks noGrp="1"/>
          </p:cNvSpPr>
          <p:nvPr>
            <p:ph type="ftr" sz="quarter" idx="11"/>
          </p:nvPr>
        </p:nvSpPr>
        <p:spPr/>
        <p:txBody>
          <a:bodyPr/>
          <a:lstStyle/>
          <a:p>
            <a:r>
              <a:rPr lang="fr-FR"/>
              <a:t>Exemple de pied de page (A modifier dans l'onglet "Insertion"/"En-tête/Pied"</a:t>
            </a:r>
          </a:p>
        </p:txBody>
      </p:sp>
      <p:sp>
        <p:nvSpPr>
          <p:cNvPr id="4" name="Espace réservé du numéro de diapositive 3">
            <a:extLst>
              <a:ext uri="{FF2B5EF4-FFF2-40B4-BE49-F238E27FC236}">
                <a16:creationId xmlns:a16="http://schemas.microsoft.com/office/drawing/2014/main" id="{6A84369A-A294-0F2F-E84F-D0990A22CF47}"/>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5" name="ZoneTexte 4">
            <a:extLst>
              <a:ext uri="{FF2B5EF4-FFF2-40B4-BE49-F238E27FC236}">
                <a16:creationId xmlns:a16="http://schemas.microsoft.com/office/drawing/2014/main" id="{F661E88D-94E7-20B9-0926-4E18EFBC1BA0}"/>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Vide</a:t>
            </a:r>
          </a:p>
        </p:txBody>
      </p:sp>
      <p:pic>
        <p:nvPicPr>
          <p:cNvPr id="7"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Tree>
    <p:extLst>
      <p:ext uri="{BB962C8B-B14F-4D97-AF65-F5344CB8AC3E}">
        <p14:creationId xmlns:p14="http://schemas.microsoft.com/office/powerpoint/2010/main" val="12956892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tervenants">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51A86F0-4870-165D-E01B-6415309E1300}"/>
              </a:ext>
            </a:extLst>
          </p:cNvPr>
          <p:cNvSpPr/>
          <p:nvPr userDrawn="1"/>
        </p:nvSpPr>
        <p:spPr>
          <a:xfrm>
            <a:off x="8595123" y="2372453"/>
            <a:ext cx="548878"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sp>
        <p:nvSpPr>
          <p:cNvPr id="6" name="ZoneTexte 5">
            <a:extLst>
              <a:ext uri="{FF2B5EF4-FFF2-40B4-BE49-F238E27FC236}">
                <a16:creationId xmlns:a16="http://schemas.microsoft.com/office/drawing/2014/main" id="{1FD8FB8A-BB4D-ADF0-708B-34954439AF19}"/>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Intervenants</a:t>
            </a:r>
          </a:p>
        </p:txBody>
      </p:sp>
      <p:sp>
        <p:nvSpPr>
          <p:cNvPr id="7" name="Espace réservé de la date 6">
            <a:extLst>
              <a:ext uri="{FF2B5EF4-FFF2-40B4-BE49-F238E27FC236}">
                <a16:creationId xmlns:a16="http://schemas.microsoft.com/office/drawing/2014/main" id="{AEB06F5F-32C6-8107-64D0-A34C291438F3}"/>
              </a:ext>
            </a:extLst>
          </p:cNvPr>
          <p:cNvSpPr>
            <a:spLocks noGrp="1"/>
          </p:cNvSpPr>
          <p:nvPr>
            <p:ph type="dt" sz="half" idx="10"/>
          </p:nvPr>
        </p:nvSpPr>
        <p:spPr>
          <a:xfrm>
            <a:off x="7406654" y="4757738"/>
            <a:ext cx="762000" cy="273844"/>
          </a:xfrm>
        </p:spPr>
        <p:txBody>
          <a:bodyPr/>
          <a:lstStyle/>
          <a:p>
            <a:r>
              <a:rPr lang="fr-FR"/>
              <a:t>28/10/2022</a:t>
            </a:r>
            <a:endParaRPr lang="fr-FR" dirty="0"/>
          </a:p>
        </p:txBody>
      </p:sp>
      <p:sp>
        <p:nvSpPr>
          <p:cNvPr id="8" name="Espace réservé du pied de page 7">
            <a:extLst>
              <a:ext uri="{FF2B5EF4-FFF2-40B4-BE49-F238E27FC236}">
                <a16:creationId xmlns:a16="http://schemas.microsoft.com/office/drawing/2014/main" id="{B725FD7F-C465-8D65-075F-32AAF06B3F81}"/>
              </a:ext>
            </a:extLst>
          </p:cNvPr>
          <p:cNvSpPr>
            <a:spLocks noGrp="1"/>
          </p:cNvSpPr>
          <p:nvPr>
            <p:ph type="ftr" sz="quarter" idx="11"/>
          </p:nvPr>
        </p:nvSpPr>
        <p:spPr/>
        <p:txBody>
          <a:bodyPr/>
          <a:lstStyle/>
          <a:p>
            <a:r>
              <a:rPr lang="fr-FR"/>
              <a:t>Exemple de pied de page (A modifier dans l'onglet "Insertion"/"En-tête/Pied"</a:t>
            </a:r>
            <a:endParaRPr lang="fr-FR" dirty="0"/>
          </a:p>
        </p:txBody>
      </p:sp>
      <p:sp>
        <p:nvSpPr>
          <p:cNvPr id="9" name="Espace réservé du numéro de diapositive 8">
            <a:extLst>
              <a:ext uri="{FF2B5EF4-FFF2-40B4-BE49-F238E27FC236}">
                <a16:creationId xmlns:a16="http://schemas.microsoft.com/office/drawing/2014/main" id="{8D38D448-932F-258E-2E58-CA802334900A}"/>
              </a:ext>
            </a:extLst>
          </p:cNvPr>
          <p:cNvSpPr>
            <a:spLocks noGrp="1"/>
          </p:cNvSpPr>
          <p:nvPr>
            <p:ph type="sldNum" sz="quarter" idx="12"/>
          </p:nvPr>
        </p:nvSpPr>
        <p:spPr/>
        <p:txBody>
          <a:bodyPr/>
          <a:lstStyle/>
          <a:p>
            <a:fld id="{0CBC77A0-1F4E-42FF-9FFC-F45C3A64AF90}" type="slidenum">
              <a:rPr lang="fr-FR" smtClean="0"/>
              <a:pPr/>
              <a:t>‹Nr.›</a:t>
            </a:fld>
            <a:endParaRPr lang="fr-FR" dirty="0"/>
          </a:p>
        </p:txBody>
      </p:sp>
      <p:sp>
        <p:nvSpPr>
          <p:cNvPr id="25" name="Espace réservé du texte 8">
            <a:extLst>
              <a:ext uri="{FF2B5EF4-FFF2-40B4-BE49-F238E27FC236}">
                <a16:creationId xmlns:a16="http://schemas.microsoft.com/office/drawing/2014/main" id="{EE9D7CE3-0338-EF86-9151-9AA39188D19A}"/>
              </a:ext>
            </a:extLst>
          </p:cNvPr>
          <p:cNvSpPr>
            <a:spLocks noGrp="1"/>
          </p:cNvSpPr>
          <p:nvPr>
            <p:ph type="body" sz="quarter" idx="13" hasCustomPrompt="1"/>
          </p:nvPr>
        </p:nvSpPr>
        <p:spPr>
          <a:xfrm>
            <a:off x="305526" y="3437353"/>
            <a:ext cx="1944216" cy="682210"/>
          </a:xfrm>
        </p:spPr>
        <p:txBody>
          <a:bodyPr lIns="72000" rIns="72000">
            <a:normAutofit/>
          </a:bodyPr>
          <a:lstStyle>
            <a:lvl1pPr algn="ctr">
              <a:lnSpc>
                <a:spcPts val="1500"/>
              </a:lnSpc>
              <a:defRPr sz="1350" b="1">
                <a:solidFill>
                  <a:schemeClr val="tx2"/>
                </a:solidFill>
              </a:defRPr>
            </a:lvl1pPr>
            <a:lvl2pPr marL="0" indent="0" algn="ctr">
              <a:lnSpc>
                <a:spcPts val="1500"/>
              </a:lnSpc>
              <a:buNone/>
              <a:defRPr sz="1200" i="1"/>
            </a:lvl2pPr>
          </a:lstStyle>
          <a:p>
            <a:pPr lvl="0"/>
            <a:r>
              <a:rPr lang="fr-FR" dirty="0"/>
              <a:t>Prénom NOM</a:t>
            </a:r>
          </a:p>
          <a:p>
            <a:pPr lvl="1"/>
            <a:r>
              <a:rPr lang="fr-FR" dirty="0"/>
              <a:t>Fonctions</a:t>
            </a:r>
          </a:p>
        </p:txBody>
      </p:sp>
      <p:sp>
        <p:nvSpPr>
          <p:cNvPr id="27" name="Espace réservé du texte 8">
            <a:extLst>
              <a:ext uri="{FF2B5EF4-FFF2-40B4-BE49-F238E27FC236}">
                <a16:creationId xmlns:a16="http://schemas.microsoft.com/office/drawing/2014/main" id="{7E242CEA-B629-6061-3336-B00B5B03631E}"/>
              </a:ext>
            </a:extLst>
          </p:cNvPr>
          <p:cNvSpPr>
            <a:spLocks noGrp="1"/>
          </p:cNvSpPr>
          <p:nvPr>
            <p:ph type="body" sz="quarter" idx="16" hasCustomPrompt="1"/>
          </p:nvPr>
        </p:nvSpPr>
        <p:spPr>
          <a:xfrm>
            <a:off x="2495438" y="3437353"/>
            <a:ext cx="1944216" cy="682210"/>
          </a:xfrm>
        </p:spPr>
        <p:txBody>
          <a:bodyPr lIns="72000" rIns="72000">
            <a:normAutofit/>
          </a:bodyPr>
          <a:lstStyle>
            <a:lvl1pPr algn="ctr">
              <a:lnSpc>
                <a:spcPts val="1500"/>
              </a:lnSpc>
              <a:defRPr sz="1350" b="1">
                <a:solidFill>
                  <a:schemeClr val="tx2"/>
                </a:solidFill>
              </a:defRPr>
            </a:lvl1pPr>
            <a:lvl2pPr marL="0" indent="0" algn="ctr">
              <a:lnSpc>
                <a:spcPts val="1500"/>
              </a:lnSpc>
              <a:buNone/>
              <a:defRPr sz="1200" i="1"/>
            </a:lvl2pPr>
          </a:lstStyle>
          <a:p>
            <a:pPr lvl="0"/>
            <a:r>
              <a:rPr lang="fr-FR" dirty="0"/>
              <a:t>Prénom NOM</a:t>
            </a:r>
          </a:p>
          <a:p>
            <a:pPr lvl="1"/>
            <a:r>
              <a:rPr lang="fr-FR" dirty="0"/>
              <a:t>Fonctions</a:t>
            </a:r>
          </a:p>
        </p:txBody>
      </p:sp>
      <p:sp>
        <p:nvSpPr>
          <p:cNvPr id="29" name="Espace réservé du texte 8">
            <a:extLst>
              <a:ext uri="{FF2B5EF4-FFF2-40B4-BE49-F238E27FC236}">
                <a16:creationId xmlns:a16="http://schemas.microsoft.com/office/drawing/2014/main" id="{13577D77-6A07-A133-9442-B0E04B740BCB}"/>
              </a:ext>
            </a:extLst>
          </p:cNvPr>
          <p:cNvSpPr>
            <a:spLocks noGrp="1"/>
          </p:cNvSpPr>
          <p:nvPr>
            <p:ph type="body" sz="quarter" idx="18" hasCustomPrompt="1"/>
          </p:nvPr>
        </p:nvSpPr>
        <p:spPr>
          <a:xfrm>
            <a:off x="6875263" y="3437353"/>
            <a:ext cx="1944216" cy="682210"/>
          </a:xfrm>
        </p:spPr>
        <p:txBody>
          <a:bodyPr lIns="72000" rIns="72000">
            <a:normAutofit/>
          </a:bodyPr>
          <a:lstStyle>
            <a:lvl1pPr algn="ctr">
              <a:lnSpc>
                <a:spcPts val="1500"/>
              </a:lnSpc>
              <a:defRPr sz="1350" b="1">
                <a:solidFill>
                  <a:schemeClr val="tx2"/>
                </a:solidFill>
              </a:defRPr>
            </a:lvl1pPr>
            <a:lvl2pPr marL="0" indent="0" algn="ctr">
              <a:lnSpc>
                <a:spcPts val="1500"/>
              </a:lnSpc>
              <a:buNone/>
              <a:defRPr sz="1200" i="1"/>
            </a:lvl2pPr>
          </a:lstStyle>
          <a:p>
            <a:pPr lvl="0"/>
            <a:r>
              <a:rPr lang="fr-FR" dirty="0"/>
              <a:t>Prénom NOM</a:t>
            </a:r>
          </a:p>
          <a:p>
            <a:pPr lvl="1"/>
            <a:r>
              <a:rPr lang="fr-FR" dirty="0"/>
              <a:t>Fonctions</a:t>
            </a:r>
          </a:p>
        </p:txBody>
      </p:sp>
      <p:sp>
        <p:nvSpPr>
          <p:cNvPr id="31" name="Espace réservé du texte 8">
            <a:extLst>
              <a:ext uri="{FF2B5EF4-FFF2-40B4-BE49-F238E27FC236}">
                <a16:creationId xmlns:a16="http://schemas.microsoft.com/office/drawing/2014/main" id="{7647BCFB-4928-920C-2E15-C8AE4C72EBA8}"/>
              </a:ext>
            </a:extLst>
          </p:cNvPr>
          <p:cNvSpPr>
            <a:spLocks noGrp="1"/>
          </p:cNvSpPr>
          <p:nvPr>
            <p:ph type="body" sz="quarter" idx="20" hasCustomPrompt="1"/>
          </p:nvPr>
        </p:nvSpPr>
        <p:spPr>
          <a:xfrm>
            <a:off x="4685351" y="3437353"/>
            <a:ext cx="1944216" cy="682210"/>
          </a:xfrm>
        </p:spPr>
        <p:txBody>
          <a:bodyPr lIns="72000" rIns="72000">
            <a:normAutofit/>
          </a:bodyPr>
          <a:lstStyle>
            <a:lvl1pPr algn="ctr">
              <a:lnSpc>
                <a:spcPts val="1500"/>
              </a:lnSpc>
              <a:defRPr sz="1350" b="1">
                <a:solidFill>
                  <a:schemeClr val="tx2"/>
                </a:solidFill>
              </a:defRPr>
            </a:lvl1pPr>
            <a:lvl2pPr marL="0" indent="0" algn="ctr">
              <a:lnSpc>
                <a:spcPts val="1500"/>
              </a:lnSpc>
              <a:buNone/>
              <a:defRPr sz="1200" i="1"/>
            </a:lvl2pPr>
          </a:lstStyle>
          <a:p>
            <a:pPr lvl="0"/>
            <a:r>
              <a:rPr lang="fr-FR" dirty="0"/>
              <a:t>Prénom NOM</a:t>
            </a:r>
          </a:p>
          <a:p>
            <a:pPr lvl="1"/>
            <a:r>
              <a:rPr lang="fr-FR" dirty="0"/>
              <a:t>Fonctions</a:t>
            </a:r>
          </a:p>
        </p:txBody>
      </p:sp>
      <p:sp>
        <p:nvSpPr>
          <p:cNvPr id="26" name="図プレースホルダー 9">
            <a:extLst>
              <a:ext uri="{FF2B5EF4-FFF2-40B4-BE49-F238E27FC236}">
                <a16:creationId xmlns:a16="http://schemas.microsoft.com/office/drawing/2014/main" id="{17DDD33A-87AA-3D6F-D996-3C0AE9416F93}"/>
              </a:ext>
            </a:extLst>
          </p:cNvPr>
          <p:cNvSpPr>
            <a:spLocks noGrp="1"/>
          </p:cNvSpPr>
          <p:nvPr>
            <p:ph type="pic" sz="quarter" idx="15" hasCustomPrompt="1"/>
          </p:nvPr>
        </p:nvSpPr>
        <p:spPr>
          <a:xfrm>
            <a:off x="305526" y="1364848"/>
            <a:ext cx="1931964" cy="1932131"/>
          </a:xfrm>
          <a:prstGeom prst="ellipse">
            <a:avLst/>
          </a:prstGeom>
          <a:solidFill>
            <a:schemeClr val="bg1">
              <a:lumMod val="65000"/>
            </a:schemeClr>
          </a:solidFill>
        </p:spPr>
        <p:txBody>
          <a:bodyPr>
            <a:normAutofit/>
          </a:bodyPr>
          <a:lstStyle>
            <a:lvl1pPr algn="ctr">
              <a:defRPr sz="900">
                <a:solidFill>
                  <a:schemeClr val="accent2">
                    <a:lumMod val="40000"/>
                    <a:lumOff val="60000"/>
                  </a:schemeClr>
                </a:solidFill>
              </a:defRPr>
            </a:lvl1pPr>
          </a:lstStyle>
          <a:p>
            <a:r>
              <a:rPr lang="fr-FR" dirty="0"/>
              <a:t>Insérez un portrait ici</a:t>
            </a:r>
          </a:p>
        </p:txBody>
      </p:sp>
      <p:sp>
        <p:nvSpPr>
          <p:cNvPr id="28" name="図プレースホルダー 9">
            <a:extLst>
              <a:ext uri="{FF2B5EF4-FFF2-40B4-BE49-F238E27FC236}">
                <a16:creationId xmlns:a16="http://schemas.microsoft.com/office/drawing/2014/main" id="{6BF72028-41E2-619A-D233-341EEFEC504D}"/>
              </a:ext>
            </a:extLst>
          </p:cNvPr>
          <p:cNvSpPr>
            <a:spLocks noGrp="1"/>
          </p:cNvSpPr>
          <p:nvPr>
            <p:ph type="pic" sz="quarter" idx="17" hasCustomPrompt="1"/>
          </p:nvPr>
        </p:nvSpPr>
        <p:spPr>
          <a:xfrm>
            <a:off x="2495438" y="1364848"/>
            <a:ext cx="1931964" cy="1932131"/>
          </a:xfrm>
          <a:prstGeom prst="ellipse">
            <a:avLst/>
          </a:prstGeom>
          <a:solidFill>
            <a:schemeClr val="bg1">
              <a:lumMod val="65000"/>
            </a:schemeClr>
          </a:solidFill>
        </p:spPr>
        <p:txBody>
          <a:bodyPr>
            <a:normAutofit/>
          </a:bodyPr>
          <a:lstStyle>
            <a:lvl1pPr algn="ctr">
              <a:defRPr sz="900">
                <a:solidFill>
                  <a:schemeClr val="accent2">
                    <a:lumMod val="40000"/>
                    <a:lumOff val="60000"/>
                  </a:schemeClr>
                </a:solidFill>
              </a:defRPr>
            </a:lvl1pPr>
          </a:lstStyle>
          <a:p>
            <a:r>
              <a:rPr lang="fr-FR" dirty="0"/>
              <a:t>Insérez un portrait ici</a:t>
            </a:r>
          </a:p>
        </p:txBody>
      </p:sp>
      <p:sp>
        <p:nvSpPr>
          <p:cNvPr id="30" name="図プレースホルダー 9">
            <a:extLst>
              <a:ext uri="{FF2B5EF4-FFF2-40B4-BE49-F238E27FC236}">
                <a16:creationId xmlns:a16="http://schemas.microsoft.com/office/drawing/2014/main" id="{74AA3498-C08C-43F4-B6BB-AE8E3CC9E9CC}"/>
              </a:ext>
            </a:extLst>
          </p:cNvPr>
          <p:cNvSpPr>
            <a:spLocks noGrp="1"/>
          </p:cNvSpPr>
          <p:nvPr>
            <p:ph type="pic" sz="quarter" idx="19" hasCustomPrompt="1"/>
          </p:nvPr>
        </p:nvSpPr>
        <p:spPr>
          <a:xfrm>
            <a:off x="6875263" y="1364848"/>
            <a:ext cx="1931964" cy="1932131"/>
          </a:xfrm>
          <a:prstGeom prst="ellipse">
            <a:avLst/>
          </a:prstGeom>
          <a:solidFill>
            <a:schemeClr val="bg1">
              <a:lumMod val="65000"/>
            </a:schemeClr>
          </a:solidFill>
        </p:spPr>
        <p:txBody>
          <a:bodyPr>
            <a:normAutofit/>
          </a:bodyPr>
          <a:lstStyle>
            <a:lvl1pPr algn="ctr">
              <a:defRPr sz="900">
                <a:solidFill>
                  <a:schemeClr val="accent2">
                    <a:lumMod val="40000"/>
                    <a:lumOff val="60000"/>
                  </a:schemeClr>
                </a:solidFill>
              </a:defRPr>
            </a:lvl1pPr>
          </a:lstStyle>
          <a:p>
            <a:r>
              <a:rPr lang="fr-FR" dirty="0"/>
              <a:t>Insérez un portrait ici</a:t>
            </a:r>
          </a:p>
        </p:txBody>
      </p:sp>
      <p:sp>
        <p:nvSpPr>
          <p:cNvPr id="32" name="図プレースホルダー 9">
            <a:extLst>
              <a:ext uri="{FF2B5EF4-FFF2-40B4-BE49-F238E27FC236}">
                <a16:creationId xmlns:a16="http://schemas.microsoft.com/office/drawing/2014/main" id="{1DC76755-C8C6-A984-C78A-E29A74AAF2E9}"/>
              </a:ext>
            </a:extLst>
          </p:cNvPr>
          <p:cNvSpPr>
            <a:spLocks noGrp="1"/>
          </p:cNvSpPr>
          <p:nvPr>
            <p:ph type="pic" sz="quarter" idx="21" hasCustomPrompt="1"/>
          </p:nvPr>
        </p:nvSpPr>
        <p:spPr>
          <a:xfrm>
            <a:off x="4685351" y="1364848"/>
            <a:ext cx="1931964" cy="1932131"/>
          </a:xfrm>
          <a:prstGeom prst="ellipse">
            <a:avLst/>
          </a:prstGeom>
          <a:solidFill>
            <a:schemeClr val="bg1">
              <a:lumMod val="65000"/>
            </a:schemeClr>
          </a:solidFill>
        </p:spPr>
        <p:txBody>
          <a:bodyPr>
            <a:normAutofit/>
          </a:bodyPr>
          <a:lstStyle>
            <a:lvl1pPr algn="ctr">
              <a:defRPr sz="900">
                <a:solidFill>
                  <a:schemeClr val="accent2">
                    <a:lumMod val="40000"/>
                    <a:lumOff val="60000"/>
                  </a:schemeClr>
                </a:solidFill>
              </a:defRPr>
            </a:lvl1pPr>
          </a:lstStyle>
          <a:p>
            <a:r>
              <a:rPr lang="fr-FR" dirty="0"/>
              <a:t>Insérez un portrait ici</a:t>
            </a:r>
          </a:p>
        </p:txBody>
      </p:sp>
      <p:sp>
        <p:nvSpPr>
          <p:cNvPr id="36" name="ZoneTexte 35">
            <a:extLst>
              <a:ext uri="{FF2B5EF4-FFF2-40B4-BE49-F238E27FC236}">
                <a16:creationId xmlns:a16="http://schemas.microsoft.com/office/drawing/2014/main" id="{C24E81A9-10CF-5234-1441-4D3B94BB47FE}"/>
              </a:ext>
            </a:extLst>
          </p:cNvPr>
          <p:cNvSpPr txBox="1"/>
          <p:nvPr userDrawn="1"/>
        </p:nvSpPr>
        <p:spPr>
          <a:xfrm>
            <a:off x="-76200" y="5143500"/>
            <a:ext cx="9144000" cy="230832"/>
          </a:xfrm>
          <a:prstGeom prst="rect">
            <a:avLst/>
          </a:prstGeom>
          <a:noFill/>
        </p:spPr>
        <p:txBody>
          <a:bodyPr wrap="square" rtlCol="0">
            <a:spAutoFit/>
          </a:bodyPr>
          <a:lstStyle/>
          <a:p>
            <a:r>
              <a:rPr lang="fr-FR" sz="900" dirty="0">
                <a:solidFill>
                  <a:schemeClr val="bg1">
                    <a:lumMod val="50000"/>
                  </a:schemeClr>
                </a:solidFill>
              </a:rPr>
              <a:t>Astuce : Vous pouvez supprimer autant de blocs d’intervenant que vous le souhaitez</a:t>
            </a:r>
          </a:p>
        </p:txBody>
      </p:sp>
      <p:pic>
        <p:nvPicPr>
          <p:cNvPr id="18"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B16D91DA-45B8-FD04-3A3A-E545BB21D2E8}"/>
              </a:ext>
            </a:extLst>
          </p:cNvPr>
          <p:cNvSpPr>
            <a:spLocks noGrp="1"/>
          </p:cNvSpPr>
          <p:nvPr>
            <p:ph type="title"/>
          </p:nvPr>
        </p:nvSpPr>
        <p:spPr/>
        <p:txBody>
          <a:bodyPr/>
          <a:lstStyle>
            <a:lvl1pPr>
              <a:defRPr>
                <a:solidFill>
                  <a:schemeClr val="tx1"/>
                </a:solidFill>
              </a:defRPr>
            </a:lvl1pPr>
          </a:lstStyle>
          <a:p>
            <a:r>
              <a:rPr lang="fr-FR"/>
              <a:t>Modifiez le style du titre</a:t>
            </a:r>
          </a:p>
        </p:txBody>
      </p:sp>
    </p:spTree>
    <p:extLst>
      <p:ext uri="{BB962C8B-B14F-4D97-AF65-F5344CB8AC3E}">
        <p14:creationId xmlns:p14="http://schemas.microsoft.com/office/powerpoint/2010/main" val="279539030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tervenant / CV">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453AF1D4-4843-AF3F-A326-45F38F216CA0}"/>
              </a:ext>
            </a:extLst>
          </p:cNvPr>
          <p:cNvSpPr/>
          <p:nvPr userDrawn="1"/>
        </p:nvSpPr>
        <p:spPr>
          <a:xfrm>
            <a:off x="5399314" y="2372453"/>
            <a:ext cx="3744686"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sp>
        <p:nvSpPr>
          <p:cNvPr id="6" name="ZoneTexte 5">
            <a:extLst>
              <a:ext uri="{FF2B5EF4-FFF2-40B4-BE49-F238E27FC236}">
                <a16:creationId xmlns:a16="http://schemas.microsoft.com/office/drawing/2014/main" id="{1FD8FB8A-BB4D-ADF0-708B-34954439AF19}"/>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Intervenant / CV</a:t>
            </a:r>
          </a:p>
        </p:txBody>
      </p:sp>
      <p:sp>
        <p:nvSpPr>
          <p:cNvPr id="7" name="Espace réservé de la date 6">
            <a:extLst>
              <a:ext uri="{FF2B5EF4-FFF2-40B4-BE49-F238E27FC236}">
                <a16:creationId xmlns:a16="http://schemas.microsoft.com/office/drawing/2014/main" id="{AEB06F5F-32C6-8107-64D0-A34C291438F3}"/>
              </a:ext>
            </a:extLst>
          </p:cNvPr>
          <p:cNvSpPr>
            <a:spLocks noGrp="1"/>
          </p:cNvSpPr>
          <p:nvPr>
            <p:ph type="dt" sz="half" idx="10"/>
          </p:nvPr>
        </p:nvSpPr>
        <p:spPr>
          <a:xfrm>
            <a:off x="7406654" y="4757738"/>
            <a:ext cx="762000" cy="273844"/>
          </a:xfrm>
        </p:spPr>
        <p:txBody>
          <a:bodyPr/>
          <a:lstStyle/>
          <a:p>
            <a:r>
              <a:rPr lang="fr-FR"/>
              <a:t>28/10/2022</a:t>
            </a:r>
            <a:endParaRPr lang="fr-FR" dirty="0"/>
          </a:p>
        </p:txBody>
      </p:sp>
      <p:sp>
        <p:nvSpPr>
          <p:cNvPr id="8" name="Espace réservé du pied de page 7">
            <a:extLst>
              <a:ext uri="{FF2B5EF4-FFF2-40B4-BE49-F238E27FC236}">
                <a16:creationId xmlns:a16="http://schemas.microsoft.com/office/drawing/2014/main" id="{B725FD7F-C465-8D65-075F-32AAF06B3F81}"/>
              </a:ext>
            </a:extLst>
          </p:cNvPr>
          <p:cNvSpPr>
            <a:spLocks noGrp="1"/>
          </p:cNvSpPr>
          <p:nvPr>
            <p:ph type="ftr" sz="quarter" idx="11"/>
          </p:nvPr>
        </p:nvSpPr>
        <p:spPr/>
        <p:txBody>
          <a:bodyPr/>
          <a:lstStyle/>
          <a:p>
            <a:r>
              <a:rPr lang="fr-FR" dirty="0"/>
              <a:t>Exemple de pied de page (A modifier dans l'onglet "Insertion"/"En-tête/Pied"</a:t>
            </a:r>
          </a:p>
        </p:txBody>
      </p:sp>
      <p:sp>
        <p:nvSpPr>
          <p:cNvPr id="9" name="Espace réservé du numéro de diapositive 8">
            <a:extLst>
              <a:ext uri="{FF2B5EF4-FFF2-40B4-BE49-F238E27FC236}">
                <a16:creationId xmlns:a16="http://schemas.microsoft.com/office/drawing/2014/main" id="{8D38D448-932F-258E-2E58-CA802334900A}"/>
              </a:ext>
            </a:extLst>
          </p:cNvPr>
          <p:cNvSpPr>
            <a:spLocks noGrp="1"/>
          </p:cNvSpPr>
          <p:nvPr>
            <p:ph type="sldNum" sz="quarter" idx="12"/>
          </p:nvPr>
        </p:nvSpPr>
        <p:spPr/>
        <p:txBody>
          <a:bodyPr/>
          <a:lstStyle/>
          <a:p>
            <a:fld id="{0CBC77A0-1F4E-42FF-9FFC-F45C3A64AF90}" type="slidenum">
              <a:rPr lang="fr-FR" smtClean="0"/>
              <a:pPr/>
              <a:t>‹Nr.›</a:t>
            </a:fld>
            <a:endParaRPr lang="fr-FR" dirty="0"/>
          </a:p>
        </p:txBody>
      </p:sp>
      <p:sp>
        <p:nvSpPr>
          <p:cNvPr id="36" name="ZoneTexte 35">
            <a:extLst>
              <a:ext uri="{FF2B5EF4-FFF2-40B4-BE49-F238E27FC236}">
                <a16:creationId xmlns:a16="http://schemas.microsoft.com/office/drawing/2014/main" id="{C24E81A9-10CF-5234-1441-4D3B94BB47FE}"/>
              </a:ext>
            </a:extLst>
          </p:cNvPr>
          <p:cNvSpPr txBox="1"/>
          <p:nvPr userDrawn="1"/>
        </p:nvSpPr>
        <p:spPr>
          <a:xfrm>
            <a:off x="-76200" y="5143500"/>
            <a:ext cx="9144000" cy="230832"/>
          </a:xfrm>
          <a:prstGeom prst="rect">
            <a:avLst/>
          </a:prstGeom>
          <a:noFill/>
        </p:spPr>
        <p:txBody>
          <a:bodyPr wrap="square" rtlCol="0">
            <a:spAutoFit/>
          </a:bodyPr>
          <a:lstStyle/>
          <a:p>
            <a:r>
              <a:rPr lang="fr-FR" sz="900" dirty="0">
                <a:solidFill>
                  <a:schemeClr val="bg1">
                    <a:lumMod val="50000"/>
                  </a:schemeClr>
                </a:solidFill>
              </a:rPr>
              <a:t>Astuce : Vous pouvez supprimer autant de blocs d’intervenant que vous le souhaitez</a:t>
            </a:r>
          </a:p>
        </p:txBody>
      </p:sp>
      <p:sp>
        <p:nvSpPr>
          <p:cNvPr id="14" name="Espace réservé du texte 2">
            <a:extLst>
              <a:ext uri="{FF2B5EF4-FFF2-40B4-BE49-F238E27FC236}">
                <a16:creationId xmlns:a16="http://schemas.microsoft.com/office/drawing/2014/main" id="{3AE77C0A-ACF9-C7EB-2F0B-D7114392665D}"/>
              </a:ext>
            </a:extLst>
          </p:cNvPr>
          <p:cNvSpPr>
            <a:spLocks noGrp="1"/>
          </p:cNvSpPr>
          <p:nvPr>
            <p:ph type="body" idx="1" hasCustomPrompt="1"/>
          </p:nvPr>
        </p:nvSpPr>
        <p:spPr>
          <a:xfrm>
            <a:off x="2600326" y="1156097"/>
            <a:ext cx="5994797" cy="617934"/>
          </a:xfrm>
        </p:spPr>
        <p:txBody>
          <a:bodyPr anchor="b">
            <a:normAutofit/>
          </a:bodyPr>
          <a:lstStyle>
            <a:lvl1pPr marL="0" indent="0">
              <a:spcBef>
                <a:spcPts val="0"/>
              </a:spcBef>
              <a:buNone/>
              <a:defRPr sz="1500" b="1">
                <a:solidFill>
                  <a:schemeClr val="tx2"/>
                </a:solidFill>
                <a:latin typeface="+mj-lt"/>
              </a:defRPr>
            </a:lvl1pPr>
            <a:lvl2pPr marL="0" indent="0">
              <a:spcBef>
                <a:spcPts val="0"/>
              </a:spcBef>
              <a:buNone/>
              <a:defRPr sz="1200" b="0" i="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dirty="0"/>
              <a:t>Prénom NOM</a:t>
            </a:r>
          </a:p>
          <a:p>
            <a:pPr lvl="1"/>
            <a:r>
              <a:rPr lang="fr-FR" dirty="0"/>
              <a:t>Fonction/titre</a:t>
            </a:r>
          </a:p>
        </p:txBody>
      </p:sp>
      <p:sp>
        <p:nvSpPr>
          <p:cNvPr id="15" name="Espace réservé du texte 20">
            <a:extLst>
              <a:ext uri="{FF2B5EF4-FFF2-40B4-BE49-F238E27FC236}">
                <a16:creationId xmlns:a16="http://schemas.microsoft.com/office/drawing/2014/main" id="{BC7575DE-FB39-1529-3362-6DDB6F59CA2B}"/>
              </a:ext>
            </a:extLst>
          </p:cNvPr>
          <p:cNvSpPr>
            <a:spLocks noGrp="1"/>
          </p:cNvSpPr>
          <p:nvPr>
            <p:ph type="body" sz="quarter" idx="14"/>
          </p:nvPr>
        </p:nvSpPr>
        <p:spPr>
          <a:xfrm>
            <a:off x="2600326" y="1809750"/>
            <a:ext cx="5994797" cy="262532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26" name="図プレースホルダー 9">
            <a:extLst>
              <a:ext uri="{FF2B5EF4-FFF2-40B4-BE49-F238E27FC236}">
                <a16:creationId xmlns:a16="http://schemas.microsoft.com/office/drawing/2014/main" id="{17DDD33A-87AA-3D6F-D996-3C0AE9416F93}"/>
              </a:ext>
            </a:extLst>
          </p:cNvPr>
          <p:cNvSpPr>
            <a:spLocks noGrp="1"/>
          </p:cNvSpPr>
          <p:nvPr>
            <p:ph type="pic" sz="quarter" idx="15" hasCustomPrompt="1"/>
          </p:nvPr>
        </p:nvSpPr>
        <p:spPr>
          <a:xfrm>
            <a:off x="429351" y="1093384"/>
            <a:ext cx="1931964" cy="1932131"/>
          </a:xfrm>
          <a:prstGeom prst="ellipse">
            <a:avLst/>
          </a:prstGeom>
          <a:solidFill>
            <a:schemeClr val="bg1">
              <a:lumMod val="65000"/>
            </a:schemeClr>
          </a:solidFill>
        </p:spPr>
        <p:txBody>
          <a:bodyPr>
            <a:normAutofit/>
          </a:bodyPr>
          <a:lstStyle>
            <a:lvl1pPr algn="ctr">
              <a:defRPr sz="900">
                <a:solidFill>
                  <a:schemeClr val="accent2">
                    <a:lumMod val="40000"/>
                    <a:lumOff val="60000"/>
                  </a:schemeClr>
                </a:solidFill>
              </a:defRPr>
            </a:lvl1pPr>
          </a:lstStyle>
          <a:p>
            <a:r>
              <a:rPr lang="fr-FR" dirty="0"/>
              <a:t>Insérez un portrait ici</a:t>
            </a:r>
          </a:p>
        </p:txBody>
      </p:sp>
      <p:pic>
        <p:nvPicPr>
          <p:cNvPr id="1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009A53DC-AB4B-EC82-92B3-B8B715CDC6A1}"/>
              </a:ext>
            </a:extLst>
          </p:cNvPr>
          <p:cNvSpPr>
            <a:spLocks noGrp="1"/>
          </p:cNvSpPr>
          <p:nvPr>
            <p:ph type="title"/>
          </p:nvPr>
        </p:nvSpPr>
        <p:spPr/>
        <p:txBody>
          <a:bodyPr/>
          <a:lstStyle>
            <a:lvl1pPr>
              <a:defRPr>
                <a:solidFill>
                  <a:schemeClr val="tx1"/>
                </a:solidFill>
              </a:defRPr>
            </a:lvl1pPr>
          </a:lstStyle>
          <a:p>
            <a:r>
              <a:rPr lang="fr-FR"/>
              <a:t>Modifiez le style du titre</a:t>
            </a:r>
          </a:p>
        </p:txBody>
      </p:sp>
    </p:spTree>
    <p:extLst>
      <p:ext uri="{BB962C8B-B14F-4D97-AF65-F5344CB8AC3E}">
        <p14:creationId xmlns:p14="http://schemas.microsoft.com/office/powerpoint/2010/main" val="16948788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ta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3" name="Espace réservé du texte 2">
            <a:extLst>
              <a:ext uri="{FF2B5EF4-FFF2-40B4-BE49-F238E27FC236}">
                <a16:creationId xmlns:a16="http://schemas.microsoft.com/office/drawing/2014/main" id="{5E8D3273-E080-F9CC-63A9-0032F5C40FC7}"/>
              </a:ext>
            </a:extLst>
          </p:cNvPr>
          <p:cNvSpPr>
            <a:spLocks noGrp="1"/>
          </p:cNvSpPr>
          <p:nvPr>
            <p:ph type="body" idx="1" hasCustomPrompt="1"/>
          </p:nvPr>
        </p:nvSpPr>
        <p:spPr>
          <a:xfrm>
            <a:off x="1300844" y="3526972"/>
            <a:ext cx="5535000" cy="378279"/>
          </a:xfrm>
        </p:spPr>
        <p:txBody>
          <a:bodyPr anchor="t">
            <a:normAutofit/>
          </a:bodyPr>
          <a:lstStyle>
            <a:lvl1pPr marL="0" indent="0" algn="r">
              <a:buNone/>
              <a:defRPr sz="1350" i="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Ici l’auteur de la citation</a:t>
            </a:r>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grpSp>
        <p:nvGrpSpPr>
          <p:cNvPr id="17" name="Group 12">
            <a:extLst>
              <a:ext uri="{FF2B5EF4-FFF2-40B4-BE49-F238E27FC236}">
                <a16:creationId xmlns:a16="http://schemas.microsoft.com/office/drawing/2014/main" id="{DFC7A27D-F544-3847-F87B-0DF45C44C0D3}"/>
              </a:ext>
            </a:extLst>
          </p:cNvPr>
          <p:cNvGrpSpPr>
            <a:grpSpLocks noChangeAspect="1"/>
          </p:cNvGrpSpPr>
          <p:nvPr userDrawn="1"/>
        </p:nvGrpSpPr>
        <p:grpSpPr bwMode="auto">
          <a:xfrm>
            <a:off x="200145" y="4757738"/>
            <a:ext cx="237530" cy="237530"/>
            <a:chOff x="461" y="3861"/>
            <a:chExt cx="304" cy="304"/>
          </a:xfrm>
        </p:grpSpPr>
        <p:sp>
          <p:nvSpPr>
            <p:cNvPr id="18" name="AutoShape 11">
              <a:extLst>
                <a:ext uri="{FF2B5EF4-FFF2-40B4-BE49-F238E27FC236}">
                  <a16:creationId xmlns:a16="http://schemas.microsoft.com/office/drawing/2014/main" id="{C581EC54-E4C7-2B85-765F-226E90ED37F9}"/>
                </a:ext>
              </a:extLst>
            </p:cNvPr>
            <p:cNvSpPr>
              <a:spLocks noChangeAspect="1" noChangeArrowheads="1" noTextEdit="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9" name="Rectangle 13">
              <a:extLst>
                <a:ext uri="{FF2B5EF4-FFF2-40B4-BE49-F238E27FC236}">
                  <a16:creationId xmlns:a16="http://schemas.microsoft.com/office/drawing/2014/main" id="{024FFC00-E238-123D-8547-D317547D5C21}"/>
                </a:ext>
              </a:extLst>
            </p:cNvPr>
            <p:cNvSpPr>
              <a:spLocks noChangeArrowheads="1"/>
            </p:cNvSpPr>
            <p:nvPr userDrawn="1"/>
          </p:nvSpPr>
          <p:spPr bwMode="auto">
            <a:xfrm>
              <a:off x="461" y="3861"/>
              <a:ext cx="304" cy="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Rectangle 14">
              <a:extLst>
                <a:ext uri="{FF2B5EF4-FFF2-40B4-BE49-F238E27FC236}">
                  <a16:creationId xmlns:a16="http://schemas.microsoft.com/office/drawing/2014/main" id="{26FC7AA9-98AE-CF10-6510-FBB15BB6F6AD}"/>
                </a:ext>
              </a:extLst>
            </p:cNvPr>
            <p:cNvSpPr>
              <a:spLocks noChangeArrowheads="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1" name="Freeform 15">
              <a:extLst>
                <a:ext uri="{FF2B5EF4-FFF2-40B4-BE49-F238E27FC236}">
                  <a16:creationId xmlns:a16="http://schemas.microsoft.com/office/drawing/2014/main" id="{485E328D-5058-4023-75AE-4DF8C1BAEBCA}"/>
                </a:ext>
              </a:extLst>
            </p:cNvPr>
            <p:cNvSpPr>
              <a:spLocks noEditPoints="1"/>
            </p:cNvSpPr>
            <p:nvPr userDrawn="1"/>
          </p:nvSpPr>
          <p:spPr bwMode="auto">
            <a:xfrm>
              <a:off x="518" y="3962"/>
              <a:ext cx="189" cy="72"/>
            </a:xfrm>
            <a:custGeom>
              <a:avLst/>
              <a:gdLst>
                <a:gd name="T0" fmla="*/ 498 w 498"/>
                <a:gd name="T1" fmla="*/ 96 h 190"/>
                <a:gd name="T2" fmla="*/ 415 w 498"/>
                <a:gd name="T3" fmla="*/ 0 h 190"/>
                <a:gd name="T4" fmla="*/ 350 w 498"/>
                <a:gd name="T5" fmla="*/ 13 h 190"/>
                <a:gd name="T6" fmla="*/ 348 w 498"/>
                <a:gd name="T7" fmla="*/ 37 h 190"/>
                <a:gd name="T8" fmla="*/ 413 w 498"/>
                <a:gd name="T9" fmla="*/ 21 h 190"/>
                <a:gd name="T10" fmla="*/ 463 w 498"/>
                <a:gd name="T11" fmla="*/ 43 h 190"/>
                <a:gd name="T12" fmla="*/ 335 w 498"/>
                <a:gd name="T13" fmla="*/ 141 h 190"/>
                <a:gd name="T14" fmla="*/ 252 w 498"/>
                <a:gd name="T15" fmla="*/ 169 h 190"/>
                <a:gd name="T16" fmla="*/ 199 w 498"/>
                <a:gd name="T17" fmla="*/ 147 h 190"/>
                <a:gd name="T18" fmla="*/ 320 w 498"/>
                <a:gd name="T19" fmla="*/ 34 h 190"/>
                <a:gd name="T20" fmla="*/ 251 w 498"/>
                <a:gd name="T21" fmla="*/ 0 h 190"/>
                <a:gd name="T22" fmla="*/ 188 w 498"/>
                <a:gd name="T23" fmla="*/ 24 h 190"/>
                <a:gd name="T24" fmla="*/ 165 w 498"/>
                <a:gd name="T25" fmla="*/ 98 h 190"/>
                <a:gd name="T26" fmla="*/ 173 w 498"/>
                <a:gd name="T27" fmla="*/ 140 h 190"/>
                <a:gd name="T28" fmla="*/ 85 w 498"/>
                <a:gd name="T29" fmla="*/ 169 h 190"/>
                <a:gd name="T30" fmla="*/ 19 w 498"/>
                <a:gd name="T31" fmla="*/ 95 h 190"/>
                <a:gd name="T32" fmla="*/ 85 w 498"/>
                <a:gd name="T33" fmla="*/ 21 h 190"/>
                <a:gd name="T34" fmla="*/ 150 w 498"/>
                <a:gd name="T35" fmla="*/ 37 h 190"/>
                <a:gd name="T36" fmla="*/ 148 w 498"/>
                <a:gd name="T37" fmla="*/ 13 h 190"/>
                <a:gd name="T38" fmla="*/ 87 w 498"/>
                <a:gd name="T39" fmla="*/ 0 h 190"/>
                <a:gd name="T40" fmla="*/ 0 w 498"/>
                <a:gd name="T41" fmla="*/ 95 h 190"/>
                <a:gd name="T42" fmla="*/ 86 w 498"/>
                <a:gd name="T43" fmla="*/ 190 h 190"/>
                <a:gd name="T44" fmla="*/ 182 w 498"/>
                <a:gd name="T45" fmla="*/ 159 h 190"/>
                <a:gd name="T46" fmla="*/ 251 w 498"/>
                <a:gd name="T47" fmla="*/ 190 h 190"/>
                <a:gd name="T48" fmla="*/ 338 w 498"/>
                <a:gd name="T49" fmla="*/ 164 h 190"/>
                <a:gd name="T50" fmla="*/ 411 w 498"/>
                <a:gd name="T51" fmla="*/ 190 h 190"/>
                <a:gd name="T52" fmla="*/ 477 w 498"/>
                <a:gd name="T53" fmla="*/ 163 h 190"/>
                <a:gd name="T54" fmla="*/ 478 w 498"/>
                <a:gd name="T55" fmla="*/ 185 h 190"/>
                <a:gd name="T56" fmla="*/ 498 w 498"/>
                <a:gd name="T57" fmla="*/ 189 h 190"/>
                <a:gd name="T58" fmla="*/ 498 w 498"/>
                <a:gd name="T59" fmla="*/ 96 h 190"/>
                <a:gd name="T60" fmla="*/ 184 w 498"/>
                <a:gd name="T61" fmla="*/ 107 h 190"/>
                <a:gd name="T62" fmla="*/ 201 w 498"/>
                <a:gd name="T63" fmla="*/ 39 h 190"/>
                <a:gd name="T64" fmla="*/ 251 w 498"/>
                <a:gd name="T65" fmla="*/ 19 h 190"/>
                <a:gd name="T66" fmla="*/ 297 w 498"/>
                <a:gd name="T67" fmla="*/ 37 h 190"/>
                <a:gd name="T68" fmla="*/ 261 w 498"/>
                <a:gd name="T69" fmla="*/ 78 h 190"/>
                <a:gd name="T70" fmla="*/ 190 w 498"/>
                <a:gd name="T71" fmla="*/ 128 h 190"/>
                <a:gd name="T72" fmla="*/ 184 w 498"/>
                <a:gd name="T73" fmla="*/ 107 h 190"/>
                <a:gd name="T74" fmla="*/ 462 w 498"/>
                <a:gd name="T75" fmla="*/ 151 h 190"/>
                <a:gd name="T76" fmla="*/ 411 w 498"/>
                <a:gd name="T77" fmla="*/ 170 h 190"/>
                <a:gd name="T78" fmla="*/ 356 w 498"/>
                <a:gd name="T79" fmla="*/ 151 h 190"/>
                <a:gd name="T80" fmla="*/ 472 w 498"/>
                <a:gd name="T81" fmla="*/ 60 h 190"/>
                <a:gd name="T82" fmla="*/ 479 w 498"/>
                <a:gd name="T83" fmla="*/ 83 h 190"/>
                <a:gd name="T84" fmla="*/ 462 w 498"/>
                <a:gd name="T85"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190">
                  <a:moveTo>
                    <a:pt x="498" y="96"/>
                  </a:moveTo>
                  <a:cubicBezTo>
                    <a:pt x="498" y="6"/>
                    <a:pt x="430" y="0"/>
                    <a:pt x="415" y="0"/>
                  </a:cubicBezTo>
                  <a:cubicBezTo>
                    <a:pt x="393" y="0"/>
                    <a:pt x="372" y="4"/>
                    <a:pt x="350" y="13"/>
                  </a:cubicBezTo>
                  <a:cubicBezTo>
                    <a:pt x="348" y="37"/>
                    <a:pt x="348" y="37"/>
                    <a:pt x="348" y="37"/>
                  </a:cubicBezTo>
                  <a:cubicBezTo>
                    <a:pt x="357" y="33"/>
                    <a:pt x="385" y="21"/>
                    <a:pt x="413" y="21"/>
                  </a:cubicBezTo>
                  <a:cubicBezTo>
                    <a:pt x="435" y="21"/>
                    <a:pt x="452" y="28"/>
                    <a:pt x="463" y="43"/>
                  </a:cubicBezTo>
                  <a:cubicBezTo>
                    <a:pt x="387" y="82"/>
                    <a:pt x="342" y="114"/>
                    <a:pt x="335" y="141"/>
                  </a:cubicBezTo>
                  <a:cubicBezTo>
                    <a:pt x="316" y="154"/>
                    <a:pt x="282" y="169"/>
                    <a:pt x="252" y="169"/>
                  </a:cubicBezTo>
                  <a:cubicBezTo>
                    <a:pt x="219" y="169"/>
                    <a:pt x="205" y="155"/>
                    <a:pt x="199" y="147"/>
                  </a:cubicBezTo>
                  <a:cubicBezTo>
                    <a:pt x="282" y="91"/>
                    <a:pt x="325" y="59"/>
                    <a:pt x="320" y="34"/>
                  </a:cubicBezTo>
                  <a:cubicBezTo>
                    <a:pt x="315" y="11"/>
                    <a:pt x="281" y="0"/>
                    <a:pt x="251" y="0"/>
                  </a:cubicBezTo>
                  <a:cubicBezTo>
                    <a:pt x="219" y="0"/>
                    <a:pt x="198" y="13"/>
                    <a:pt x="188" y="24"/>
                  </a:cubicBezTo>
                  <a:cubicBezTo>
                    <a:pt x="172" y="41"/>
                    <a:pt x="164" y="66"/>
                    <a:pt x="165" y="98"/>
                  </a:cubicBezTo>
                  <a:cubicBezTo>
                    <a:pt x="165" y="112"/>
                    <a:pt x="168" y="127"/>
                    <a:pt x="173" y="140"/>
                  </a:cubicBezTo>
                  <a:cubicBezTo>
                    <a:pt x="160" y="148"/>
                    <a:pt x="125" y="169"/>
                    <a:pt x="85" y="169"/>
                  </a:cubicBezTo>
                  <a:cubicBezTo>
                    <a:pt x="38" y="169"/>
                    <a:pt x="19" y="132"/>
                    <a:pt x="19" y="95"/>
                  </a:cubicBezTo>
                  <a:cubicBezTo>
                    <a:pt x="19" y="59"/>
                    <a:pt x="37" y="21"/>
                    <a:pt x="85" y="21"/>
                  </a:cubicBezTo>
                  <a:cubicBezTo>
                    <a:pt x="113" y="21"/>
                    <a:pt x="140" y="32"/>
                    <a:pt x="150" y="37"/>
                  </a:cubicBezTo>
                  <a:cubicBezTo>
                    <a:pt x="148" y="13"/>
                    <a:pt x="148" y="13"/>
                    <a:pt x="148" y="13"/>
                  </a:cubicBezTo>
                  <a:cubicBezTo>
                    <a:pt x="130" y="6"/>
                    <a:pt x="107" y="0"/>
                    <a:pt x="87" y="0"/>
                  </a:cubicBezTo>
                  <a:cubicBezTo>
                    <a:pt x="7" y="0"/>
                    <a:pt x="0" y="67"/>
                    <a:pt x="0" y="95"/>
                  </a:cubicBezTo>
                  <a:cubicBezTo>
                    <a:pt x="0" y="122"/>
                    <a:pt x="7" y="190"/>
                    <a:pt x="86" y="190"/>
                  </a:cubicBezTo>
                  <a:cubicBezTo>
                    <a:pt x="134" y="190"/>
                    <a:pt x="175" y="164"/>
                    <a:pt x="182" y="159"/>
                  </a:cubicBezTo>
                  <a:cubicBezTo>
                    <a:pt x="187" y="168"/>
                    <a:pt x="208" y="190"/>
                    <a:pt x="251" y="190"/>
                  </a:cubicBezTo>
                  <a:cubicBezTo>
                    <a:pt x="286" y="190"/>
                    <a:pt x="325" y="173"/>
                    <a:pt x="338" y="164"/>
                  </a:cubicBezTo>
                  <a:cubicBezTo>
                    <a:pt x="346" y="175"/>
                    <a:pt x="362" y="190"/>
                    <a:pt x="411" y="190"/>
                  </a:cubicBezTo>
                  <a:cubicBezTo>
                    <a:pt x="444" y="190"/>
                    <a:pt x="464" y="179"/>
                    <a:pt x="477" y="163"/>
                  </a:cubicBezTo>
                  <a:cubicBezTo>
                    <a:pt x="477" y="171"/>
                    <a:pt x="478" y="179"/>
                    <a:pt x="478" y="185"/>
                  </a:cubicBezTo>
                  <a:cubicBezTo>
                    <a:pt x="498" y="189"/>
                    <a:pt x="498" y="189"/>
                    <a:pt x="498" y="189"/>
                  </a:cubicBezTo>
                  <a:cubicBezTo>
                    <a:pt x="497" y="168"/>
                    <a:pt x="498" y="97"/>
                    <a:pt x="498" y="96"/>
                  </a:cubicBezTo>
                  <a:moveTo>
                    <a:pt x="184" y="107"/>
                  </a:moveTo>
                  <a:cubicBezTo>
                    <a:pt x="184" y="107"/>
                    <a:pt x="178" y="65"/>
                    <a:pt x="201" y="39"/>
                  </a:cubicBezTo>
                  <a:cubicBezTo>
                    <a:pt x="212" y="26"/>
                    <a:pt x="229" y="19"/>
                    <a:pt x="251" y="19"/>
                  </a:cubicBezTo>
                  <a:cubicBezTo>
                    <a:pt x="275" y="19"/>
                    <a:pt x="295" y="28"/>
                    <a:pt x="297" y="37"/>
                  </a:cubicBezTo>
                  <a:cubicBezTo>
                    <a:pt x="299" y="44"/>
                    <a:pt x="292" y="53"/>
                    <a:pt x="261" y="78"/>
                  </a:cubicBezTo>
                  <a:cubicBezTo>
                    <a:pt x="261" y="78"/>
                    <a:pt x="230" y="105"/>
                    <a:pt x="190" y="128"/>
                  </a:cubicBezTo>
                  <a:cubicBezTo>
                    <a:pt x="187" y="122"/>
                    <a:pt x="185" y="115"/>
                    <a:pt x="184" y="107"/>
                  </a:cubicBezTo>
                  <a:moveTo>
                    <a:pt x="462" y="151"/>
                  </a:moveTo>
                  <a:cubicBezTo>
                    <a:pt x="450" y="164"/>
                    <a:pt x="433" y="170"/>
                    <a:pt x="411" y="170"/>
                  </a:cubicBezTo>
                  <a:cubicBezTo>
                    <a:pt x="361" y="170"/>
                    <a:pt x="356" y="151"/>
                    <a:pt x="356" y="151"/>
                  </a:cubicBezTo>
                  <a:cubicBezTo>
                    <a:pt x="350" y="140"/>
                    <a:pt x="367" y="116"/>
                    <a:pt x="472" y="60"/>
                  </a:cubicBezTo>
                  <a:cubicBezTo>
                    <a:pt x="475" y="67"/>
                    <a:pt x="477" y="75"/>
                    <a:pt x="479" y="83"/>
                  </a:cubicBezTo>
                  <a:cubicBezTo>
                    <a:pt x="479" y="83"/>
                    <a:pt x="484" y="125"/>
                    <a:pt x="462" y="15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Rectangle 16">
              <a:extLst>
                <a:ext uri="{FF2B5EF4-FFF2-40B4-BE49-F238E27FC236}">
                  <a16:creationId xmlns:a16="http://schemas.microsoft.com/office/drawing/2014/main" id="{B32124BB-315A-4642-3185-D0F09F05E9F3}"/>
                </a:ext>
              </a:extLst>
            </p:cNvPr>
            <p:cNvSpPr>
              <a:spLocks noChangeArrowheads="1"/>
            </p:cNvSpPr>
            <p:nvPr userDrawn="1"/>
          </p:nvSpPr>
          <p:spPr bwMode="auto">
            <a:xfrm>
              <a:off x="526" y="4057"/>
              <a:ext cx="174"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3" name="Rectangle 17">
              <a:extLst>
                <a:ext uri="{FF2B5EF4-FFF2-40B4-BE49-F238E27FC236}">
                  <a16:creationId xmlns:a16="http://schemas.microsoft.com/office/drawing/2014/main" id="{283D2C2C-F437-0747-2745-E4E3B6D20760}"/>
                </a:ext>
              </a:extLst>
            </p:cNvPr>
            <p:cNvSpPr>
              <a:spLocks noChangeArrowheads="1"/>
            </p:cNvSpPr>
            <p:nvPr userDrawn="1"/>
          </p:nvSpPr>
          <p:spPr bwMode="auto">
            <a:xfrm>
              <a:off x="526" y="4057"/>
              <a:ext cx="174" cy="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Citation</a:t>
            </a:r>
          </a:p>
          <a:p>
            <a:endParaRPr lang="fr-FR" sz="900" dirty="0">
              <a:solidFill>
                <a:schemeClr val="bg1">
                  <a:lumMod val="50000"/>
                </a:schemeClr>
              </a:solidFill>
            </a:endParaRPr>
          </a:p>
        </p:txBody>
      </p:sp>
      <p:sp>
        <p:nvSpPr>
          <p:cNvPr id="13" name="ZoneTexte 12">
            <a:extLst>
              <a:ext uri="{FF2B5EF4-FFF2-40B4-BE49-F238E27FC236}">
                <a16:creationId xmlns:a16="http://schemas.microsoft.com/office/drawing/2014/main" id="{00475712-48BB-EC3B-E6C3-3284AF014AB8}"/>
              </a:ext>
            </a:extLst>
          </p:cNvPr>
          <p:cNvSpPr txBox="1"/>
          <p:nvPr userDrawn="1"/>
        </p:nvSpPr>
        <p:spPr>
          <a:xfrm>
            <a:off x="245769" y="1161030"/>
            <a:ext cx="994101" cy="1650452"/>
          </a:xfrm>
          <a:prstGeom prst="rect">
            <a:avLst/>
          </a:prstGeom>
          <a:noFill/>
        </p:spPr>
        <p:txBody>
          <a:bodyPr wrap="square" rtlCol="0">
            <a:spAutoFit/>
          </a:bodyPr>
          <a:lstStyle/>
          <a:p>
            <a:pPr algn="r"/>
            <a:r>
              <a:rPr lang="fr-FR" sz="10125" dirty="0">
                <a:solidFill>
                  <a:schemeClr val="bg1"/>
                </a:solidFill>
                <a:latin typeface="+mj-lt"/>
              </a:rPr>
              <a:t>“</a:t>
            </a:r>
          </a:p>
        </p:txBody>
      </p:sp>
      <p:sp>
        <p:nvSpPr>
          <p:cNvPr id="2" name="Titre 1">
            <a:extLst>
              <a:ext uri="{FF2B5EF4-FFF2-40B4-BE49-F238E27FC236}">
                <a16:creationId xmlns:a16="http://schemas.microsoft.com/office/drawing/2014/main" id="{2C297F72-9AE9-FCA1-E35C-172594739B42}"/>
              </a:ext>
            </a:extLst>
          </p:cNvPr>
          <p:cNvSpPr>
            <a:spLocks noGrp="1"/>
          </p:cNvSpPr>
          <p:nvPr>
            <p:ph type="title" hasCustomPrompt="1"/>
          </p:nvPr>
        </p:nvSpPr>
        <p:spPr>
          <a:xfrm>
            <a:off x="1300844" y="1628775"/>
            <a:ext cx="5535000" cy="1800225"/>
          </a:xfrm>
        </p:spPr>
        <p:txBody>
          <a:bodyPr anchor="t">
            <a:normAutofit/>
          </a:bodyPr>
          <a:lstStyle>
            <a:lvl1pPr>
              <a:defRPr sz="3000">
                <a:solidFill>
                  <a:schemeClr val="bg1"/>
                </a:solidFill>
              </a:defRPr>
            </a:lvl1pPr>
          </a:lstStyle>
          <a:p>
            <a:r>
              <a:rPr lang="fr-FR" dirty="0"/>
              <a:t>Ici votre citation qui peut être sur plusieurs lignes ’’ </a:t>
            </a: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Pour fermer les guillemets de fin de citation ajoutez 2 apostrophes à la fin de votre texte (touche [4] du clavier)</a:t>
            </a:r>
          </a:p>
          <a:p>
            <a:endParaRPr lang="fr-FR" sz="900" dirty="0">
              <a:solidFill>
                <a:schemeClr val="bg1">
                  <a:lumMod val="50000"/>
                </a:schemeClr>
              </a:solidFill>
            </a:endParaRPr>
          </a:p>
        </p:txBody>
      </p:sp>
      <p:pic>
        <p:nvPicPr>
          <p:cNvPr id="24" name="Image 23">
            <a:extLst>
              <a:ext uri="{FF2B5EF4-FFF2-40B4-BE49-F238E27FC236}">
                <a16:creationId xmlns:a16="http://schemas.microsoft.com/office/drawing/2014/main" id="{2E000BD1-941E-96DB-8740-6C7D2BD0EE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91" r="39816"/>
          <a:stretch/>
        </p:blipFill>
        <p:spPr>
          <a:xfrm>
            <a:off x="7027200" y="0"/>
            <a:ext cx="2116801" cy="1856509"/>
          </a:xfrm>
          <a:prstGeom prst="rect">
            <a:avLst/>
          </a:prstGeom>
        </p:spPr>
      </p:pic>
    </p:spTree>
    <p:extLst>
      <p:ext uri="{BB962C8B-B14F-4D97-AF65-F5344CB8AC3E}">
        <p14:creationId xmlns:p14="http://schemas.microsoft.com/office/powerpoint/2010/main" val="3639769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itation Bleu foncé">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Citation Bleu foncé</a:t>
            </a:r>
          </a:p>
          <a:p>
            <a:endParaRPr lang="fr-FR" sz="900" dirty="0">
              <a:solidFill>
                <a:schemeClr val="bg1">
                  <a:lumMod val="50000"/>
                </a:schemeClr>
              </a:solidFill>
            </a:endParaRPr>
          </a:p>
        </p:txBody>
      </p:sp>
      <p:sp>
        <p:nvSpPr>
          <p:cNvPr id="13" name="ZoneTexte 12">
            <a:extLst>
              <a:ext uri="{FF2B5EF4-FFF2-40B4-BE49-F238E27FC236}">
                <a16:creationId xmlns:a16="http://schemas.microsoft.com/office/drawing/2014/main" id="{00475712-48BB-EC3B-E6C3-3284AF014AB8}"/>
              </a:ext>
            </a:extLst>
          </p:cNvPr>
          <p:cNvSpPr txBox="1"/>
          <p:nvPr userDrawn="1"/>
        </p:nvSpPr>
        <p:spPr>
          <a:xfrm>
            <a:off x="245769" y="1161030"/>
            <a:ext cx="994101" cy="1650452"/>
          </a:xfrm>
          <a:prstGeom prst="rect">
            <a:avLst/>
          </a:prstGeom>
          <a:noFill/>
        </p:spPr>
        <p:txBody>
          <a:bodyPr wrap="square" rtlCol="0">
            <a:spAutoFit/>
          </a:bodyPr>
          <a:lstStyle/>
          <a:p>
            <a:pPr algn="r"/>
            <a:r>
              <a:rPr lang="fr-FR" sz="10125" dirty="0">
                <a:solidFill>
                  <a:schemeClr val="bg1"/>
                </a:solidFill>
                <a:latin typeface="+mj-lt"/>
              </a:rPr>
              <a:t>“</a:t>
            </a: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Pour fermer les guillemets de fin de citation ajoutez 2 apostrophes à la fin de votre texte (touche [4] du clavier)</a:t>
            </a:r>
          </a:p>
          <a:p>
            <a:endParaRPr lang="fr-FR" sz="900" dirty="0">
              <a:solidFill>
                <a:schemeClr val="bg1">
                  <a:lumMod val="50000"/>
                </a:schemeClr>
              </a:solidFill>
            </a:endParaRPr>
          </a:p>
        </p:txBody>
      </p:sp>
      <p:pic>
        <p:nvPicPr>
          <p:cNvPr id="14" name="Image 13">
            <a:extLst>
              <a:ext uri="{FF2B5EF4-FFF2-40B4-BE49-F238E27FC236}">
                <a16:creationId xmlns:a16="http://schemas.microsoft.com/office/drawing/2014/main" id="{2E000BD1-941E-96DB-8740-6C7D2BD0EE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91" r="39816"/>
          <a:stretch/>
        </p:blipFill>
        <p:spPr>
          <a:xfrm>
            <a:off x="7027200" y="0"/>
            <a:ext cx="2116801" cy="1856509"/>
          </a:xfrm>
          <a:prstGeom prst="rect">
            <a:avLst/>
          </a:prstGeom>
        </p:spPr>
      </p:pic>
      <p:pic>
        <p:nvPicPr>
          <p:cNvPr id="16"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sp>
        <p:nvSpPr>
          <p:cNvPr id="8" name="Espace réservé du texte 2">
            <a:extLst>
              <a:ext uri="{FF2B5EF4-FFF2-40B4-BE49-F238E27FC236}">
                <a16:creationId xmlns:a16="http://schemas.microsoft.com/office/drawing/2014/main" id="{CD1C80FF-3EC2-C65E-39A3-3D5B556D3A76}"/>
              </a:ext>
            </a:extLst>
          </p:cNvPr>
          <p:cNvSpPr>
            <a:spLocks noGrp="1"/>
          </p:cNvSpPr>
          <p:nvPr>
            <p:ph type="body" idx="1" hasCustomPrompt="1"/>
          </p:nvPr>
        </p:nvSpPr>
        <p:spPr>
          <a:xfrm>
            <a:off x="1300844" y="3526972"/>
            <a:ext cx="5535000" cy="378279"/>
          </a:xfrm>
        </p:spPr>
        <p:txBody>
          <a:bodyPr anchor="t">
            <a:normAutofit/>
          </a:bodyPr>
          <a:lstStyle>
            <a:lvl1pPr marL="0" indent="0" algn="r">
              <a:buNone/>
              <a:defRPr sz="1350" i="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Ici l’auteur de la citation</a:t>
            </a:r>
          </a:p>
        </p:txBody>
      </p:sp>
      <p:sp>
        <p:nvSpPr>
          <p:cNvPr id="9" name="Titre 1">
            <a:extLst>
              <a:ext uri="{FF2B5EF4-FFF2-40B4-BE49-F238E27FC236}">
                <a16:creationId xmlns:a16="http://schemas.microsoft.com/office/drawing/2014/main" id="{DD99EE02-4A21-0C84-48D4-82F813D3CEA1}"/>
              </a:ext>
            </a:extLst>
          </p:cNvPr>
          <p:cNvSpPr>
            <a:spLocks noGrp="1"/>
          </p:cNvSpPr>
          <p:nvPr>
            <p:ph type="title" hasCustomPrompt="1"/>
          </p:nvPr>
        </p:nvSpPr>
        <p:spPr>
          <a:xfrm>
            <a:off x="1300844" y="1628775"/>
            <a:ext cx="5535000" cy="1800225"/>
          </a:xfrm>
        </p:spPr>
        <p:txBody>
          <a:bodyPr anchor="t">
            <a:normAutofit/>
          </a:bodyPr>
          <a:lstStyle>
            <a:lvl1pPr>
              <a:defRPr sz="3000">
                <a:solidFill>
                  <a:schemeClr val="bg1"/>
                </a:solidFill>
              </a:defRPr>
            </a:lvl1pPr>
          </a:lstStyle>
          <a:p>
            <a:r>
              <a:rPr lang="fr-FR" dirty="0"/>
              <a:t>Ici votre citation qui peut être sur plusieurs lignes ’’ </a:t>
            </a:r>
          </a:p>
        </p:txBody>
      </p:sp>
    </p:spTree>
    <p:extLst>
      <p:ext uri="{BB962C8B-B14F-4D97-AF65-F5344CB8AC3E}">
        <p14:creationId xmlns:p14="http://schemas.microsoft.com/office/powerpoint/2010/main" val="17639455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7526982-0BD3-80B2-D0C1-E141B8AD1D26}"/>
              </a:ext>
            </a:extLst>
          </p:cNvPr>
          <p:cNvSpPr/>
          <p:nvPr userDrawn="1"/>
        </p:nvSpPr>
        <p:spPr>
          <a:xfrm>
            <a:off x="8386762" y="2372453"/>
            <a:ext cx="757238"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sp>
        <p:nvSpPr>
          <p:cNvPr id="2" name="Titre 1">
            <a:extLst>
              <a:ext uri="{FF2B5EF4-FFF2-40B4-BE49-F238E27FC236}">
                <a16:creationId xmlns:a16="http://schemas.microsoft.com/office/drawing/2014/main" id="{107B68EE-BDE5-1E9D-059B-83B50A6ACD18}"/>
              </a:ext>
            </a:extLst>
          </p:cNvPr>
          <p:cNvSpPr>
            <a:spLocks noGrp="1"/>
          </p:cNvSpPr>
          <p:nvPr>
            <p:ph type="ctrTitle"/>
          </p:nvPr>
        </p:nvSpPr>
        <p:spPr>
          <a:xfrm>
            <a:off x="548879" y="1990725"/>
            <a:ext cx="3970734" cy="1190626"/>
          </a:xfrm>
        </p:spPr>
        <p:txBody>
          <a:bodyPr anchor="b">
            <a:normAutofit/>
          </a:bodyPr>
          <a:lstStyle>
            <a:lvl1pPr algn="l">
              <a:defRPr sz="2100">
                <a:solidFill>
                  <a:schemeClr val="tx1"/>
                </a:solidFill>
              </a:defRPr>
            </a:lvl1pPr>
          </a:lstStyle>
          <a:p>
            <a:r>
              <a:rPr lang="fr-FR"/>
              <a:t>Modifiez le style du titre</a:t>
            </a:r>
            <a:endParaRPr lang="fr-FR" dirty="0"/>
          </a:p>
        </p:txBody>
      </p:sp>
      <p:sp>
        <p:nvSpPr>
          <p:cNvPr id="3" name="Sous-titre 2">
            <a:extLst>
              <a:ext uri="{FF2B5EF4-FFF2-40B4-BE49-F238E27FC236}">
                <a16:creationId xmlns:a16="http://schemas.microsoft.com/office/drawing/2014/main" id="{34801059-2D37-8D44-42C0-ED46DE3A8FD1}"/>
              </a:ext>
            </a:extLst>
          </p:cNvPr>
          <p:cNvSpPr>
            <a:spLocks noGrp="1"/>
          </p:cNvSpPr>
          <p:nvPr>
            <p:ph type="subTitle" idx="1"/>
          </p:nvPr>
        </p:nvSpPr>
        <p:spPr>
          <a:xfrm>
            <a:off x="548879" y="3196828"/>
            <a:ext cx="3970734" cy="1241822"/>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fr-FR" dirty="0"/>
          </a:p>
        </p:txBody>
      </p:sp>
      <p:pic>
        <p:nvPicPr>
          <p:cNvPr id="8" name="Logo CEA">
            <a:extLst>
              <a:ext uri="{FF2B5EF4-FFF2-40B4-BE49-F238E27FC236}">
                <a16:creationId xmlns:a16="http://schemas.microsoft.com/office/drawing/2014/main" id="{1051C7ED-2FE9-229E-F0BD-000C6D22DE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8879" y="546497"/>
            <a:ext cx="1352700" cy="1352700"/>
          </a:xfrm>
          <a:prstGeom prst="rect">
            <a:avLst/>
          </a:prstGeom>
        </p:spPr>
      </p:pic>
      <p:sp>
        <p:nvSpPr>
          <p:cNvPr id="10" name="ZoneTexte 9">
            <a:extLst>
              <a:ext uri="{FF2B5EF4-FFF2-40B4-BE49-F238E27FC236}">
                <a16:creationId xmlns:a16="http://schemas.microsoft.com/office/drawing/2014/main" id="{931EACC6-5472-4DD6-3DB8-DB3936803B32}"/>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a:t>
            </a:r>
          </a:p>
        </p:txBody>
      </p:sp>
      <p:pic>
        <p:nvPicPr>
          <p:cNvPr id="11"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sp>
        <p:nvSpPr>
          <p:cNvPr id="5" name="Espace réservé du texte 4">
            <a:extLst>
              <a:ext uri="{FF2B5EF4-FFF2-40B4-BE49-F238E27FC236}">
                <a16:creationId xmlns:a16="http://schemas.microsoft.com/office/drawing/2014/main" id="{0A828EFF-0769-991A-745D-86154BF58E56}"/>
              </a:ext>
            </a:extLst>
          </p:cNvPr>
          <p:cNvSpPr>
            <a:spLocks noGrp="1"/>
          </p:cNvSpPr>
          <p:nvPr>
            <p:ph type="body" sz="quarter" idx="17" hasCustomPrompt="1"/>
          </p:nvPr>
        </p:nvSpPr>
        <p:spPr>
          <a:xfrm>
            <a:off x="557212" y="4419600"/>
            <a:ext cx="4933950" cy="419100"/>
          </a:xfrm>
        </p:spPr>
        <p:txBody>
          <a:bodyPr>
            <a:normAutofit/>
          </a:bodyPr>
          <a:lstStyle>
            <a:lvl1pPr>
              <a:defRPr sz="900" i="1">
                <a:solidFill>
                  <a:schemeClr val="tx1"/>
                </a:solidFill>
              </a:defRPr>
            </a:lvl1pPr>
          </a:lstStyle>
          <a:p>
            <a:pPr lvl="0"/>
            <a:r>
              <a:rPr lang="fr-FR" dirty="0"/>
              <a:t>Emplacement logotypes financeurs/partenaires</a:t>
            </a:r>
          </a:p>
        </p:txBody>
      </p:sp>
    </p:spTree>
    <p:extLst>
      <p:ext uri="{BB962C8B-B14F-4D97-AF65-F5344CB8AC3E}">
        <p14:creationId xmlns:p14="http://schemas.microsoft.com/office/powerpoint/2010/main" val="14729926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itation clair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Citation claire</a:t>
            </a:r>
          </a:p>
        </p:txBody>
      </p:sp>
      <p:sp>
        <p:nvSpPr>
          <p:cNvPr id="13" name="ZoneTexte 12">
            <a:extLst>
              <a:ext uri="{FF2B5EF4-FFF2-40B4-BE49-F238E27FC236}">
                <a16:creationId xmlns:a16="http://schemas.microsoft.com/office/drawing/2014/main" id="{00475712-48BB-EC3B-E6C3-3284AF014AB8}"/>
              </a:ext>
            </a:extLst>
          </p:cNvPr>
          <p:cNvSpPr txBox="1"/>
          <p:nvPr userDrawn="1"/>
        </p:nvSpPr>
        <p:spPr>
          <a:xfrm>
            <a:off x="245769" y="1161030"/>
            <a:ext cx="994101" cy="1650452"/>
          </a:xfrm>
          <a:prstGeom prst="rect">
            <a:avLst/>
          </a:prstGeom>
          <a:noFill/>
        </p:spPr>
        <p:txBody>
          <a:bodyPr wrap="square" rtlCol="0">
            <a:spAutoFit/>
          </a:bodyPr>
          <a:lstStyle/>
          <a:p>
            <a:pPr algn="r"/>
            <a:r>
              <a:rPr lang="fr-FR" sz="10125" dirty="0">
                <a:solidFill>
                  <a:schemeClr val="tx2"/>
                </a:solidFill>
                <a:latin typeface="+mj-lt"/>
              </a:rPr>
              <a:t>“</a:t>
            </a: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Pour fermer les guillemets de fin de citation ajoutez 2 apostrophes à la fin de votre texte (touche [4] du clavier)</a:t>
            </a:r>
          </a:p>
          <a:p>
            <a:endParaRPr lang="fr-FR" sz="900" dirty="0">
              <a:solidFill>
                <a:schemeClr val="bg1">
                  <a:lumMod val="50000"/>
                </a:schemeClr>
              </a:solidFill>
            </a:endParaRPr>
          </a:p>
        </p:txBody>
      </p:sp>
      <p:pic>
        <p:nvPicPr>
          <p:cNvPr id="14"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pic>
        <p:nvPicPr>
          <p:cNvPr id="16"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sp>
        <p:nvSpPr>
          <p:cNvPr id="8" name="Espace réservé du texte 2">
            <a:extLst>
              <a:ext uri="{FF2B5EF4-FFF2-40B4-BE49-F238E27FC236}">
                <a16:creationId xmlns:a16="http://schemas.microsoft.com/office/drawing/2014/main" id="{930F834B-23C4-8EC1-2C21-5E1E110A7BF9}"/>
              </a:ext>
            </a:extLst>
          </p:cNvPr>
          <p:cNvSpPr>
            <a:spLocks noGrp="1"/>
          </p:cNvSpPr>
          <p:nvPr>
            <p:ph type="body" idx="1" hasCustomPrompt="1"/>
          </p:nvPr>
        </p:nvSpPr>
        <p:spPr>
          <a:xfrm>
            <a:off x="1300844" y="3526972"/>
            <a:ext cx="5535000" cy="378279"/>
          </a:xfrm>
        </p:spPr>
        <p:txBody>
          <a:bodyPr anchor="t">
            <a:normAutofit/>
          </a:bodyPr>
          <a:lstStyle>
            <a:lvl1pPr marL="0" indent="0" algn="r">
              <a:buNone/>
              <a:defRPr sz="1350" i="1">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Ici l’auteur de la citation</a:t>
            </a:r>
          </a:p>
        </p:txBody>
      </p:sp>
      <p:sp>
        <p:nvSpPr>
          <p:cNvPr id="9" name="Titre 1">
            <a:extLst>
              <a:ext uri="{FF2B5EF4-FFF2-40B4-BE49-F238E27FC236}">
                <a16:creationId xmlns:a16="http://schemas.microsoft.com/office/drawing/2014/main" id="{A31F7F2B-1941-1250-D680-FD079465EC46}"/>
              </a:ext>
            </a:extLst>
          </p:cNvPr>
          <p:cNvSpPr>
            <a:spLocks noGrp="1"/>
          </p:cNvSpPr>
          <p:nvPr>
            <p:ph type="title" hasCustomPrompt="1"/>
          </p:nvPr>
        </p:nvSpPr>
        <p:spPr>
          <a:xfrm>
            <a:off x="1300844" y="1628775"/>
            <a:ext cx="5535000" cy="1800225"/>
          </a:xfrm>
        </p:spPr>
        <p:txBody>
          <a:bodyPr anchor="t">
            <a:normAutofit/>
          </a:bodyPr>
          <a:lstStyle>
            <a:lvl1pPr>
              <a:defRPr sz="3000">
                <a:solidFill>
                  <a:schemeClr val="tx1"/>
                </a:solidFill>
              </a:defRPr>
            </a:lvl1pPr>
          </a:lstStyle>
          <a:p>
            <a:r>
              <a:rPr lang="fr-FR" dirty="0"/>
              <a:t>Ici votre citation qui peut être sur plusieurs lignes ’’ </a:t>
            </a:r>
          </a:p>
        </p:txBody>
      </p:sp>
    </p:spTree>
    <p:extLst>
      <p:ext uri="{BB962C8B-B14F-4D97-AF65-F5344CB8AC3E}">
        <p14:creationId xmlns:p14="http://schemas.microsoft.com/office/powerpoint/2010/main" val="1442209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itation Gri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dirty="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tx2"/>
                </a:solidFill>
              </a:defRPr>
            </a:lvl1pPr>
          </a:lstStyle>
          <a:p>
            <a:fld id="{0CBC77A0-1F4E-42FF-9FFC-F45C3A64AF90}" type="slidenum">
              <a:rPr lang="fr-FR" smtClean="0"/>
              <a:pPr/>
              <a:t>‹Nr.›</a:t>
            </a:fld>
            <a:endParaRPr lang="fr-FR" dirty="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Citation Gris</a:t>
            </a:r>
          </a:p>
          <a:p>
            <a:endParaRPr lang="fr-FR" sz="900" dirty="0">
              <a:solidFill>
                <a:schemeClr val="bg1">
                  <a:lumMod val="50000"/>
                </a:schemeClr>
              </a:solidFill>
            </a:endParaRPr>
          </a:p>
        </p:txBody>
      </p:sp>
      <p:sp>
        <p:nvSpPr>
          <p:cNvPr id="13" name="ZoneTexte 12">
            <a:extLst>
              <a:ext uri="{FF2B5EF4-FFF2-40B4-BE49-F238E27FC236}">
                <a16:creationId xmlns:a16="http://schemas.microsoft.com/office/drawing/2014/main" id="{00475712-48BB-EC3B-E6C3-3284AF014AB8}"/>
              </a:ext>
            </a:extLst>
          </p:cNvPr>
          <p:cNvSpPr txBox="1"/>
          <p:nvPr userDrawn="1"/>
        </p:nvSpPr>
        <p:spPr>
          <a:xfrm>
            <a:off x="245769" y="1161030"/>
            <a:ext cx="994101" cy="1650452"/>
          </a:xfrm>
          <a:prstGeom prst="rect">
            <a:avLst/>
          </a:prstGeom>
          <a:noFill/>
        </p:spPr>
        <p:txBody>
          <a:bodyPr wrap="square" rtlCol="0">
            <a:spAutoFit/>
          </a:bodyPr>
          <a:lstStyle/>
          <a:p>
            <a:pPr algn="r"/>
            <a:r>
              <a:rPr lang="fr-FR" sz="10125" dirty="0">
                <a:solidFill>
                  <a:schemeClr val="bg1"/>
                </a:solidFill>
                <a:latin typeface="+mj-lt"/>
              </a:rPr>
              <a:t>“</a:t>
            </a: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Pour fermer les guillemets de fin de citation ajoutez 2 apostrophes à la fin de votre texte (touche [4] du clavier)</a:t>
            </a:r>
          </a:p>
          <a:p>
            <a:endParaRPr lang="fr-FR" sz="900" dirty="0">
              <a:solidFill>
                <a:schemeClr val="bg1">
                  <a:lumMod val="50000"/>
                </a:schemeClr>
              </a:solidFill>
            </a:endParaRPr>
          </a:p>
        </p:txBody>
      </p:sp>
      <p:pic>
        <p:nvPicPr>
          <p:cNvPr id="14" name="Image 13">
            <a:extLst>
              <a:ext uri="{FF2B5EF4-FFF2-40B4-BE49-F238E27FC236}">
                <a16:creationId xmlns:a16="http://schemas.microsoft.com/office/drawing/2014/main" id="{2E000BD1-941E-96DB-8740-6C7D2BD0EE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91" r="39816"/>
          <a:stretch/>
        </p:blipFill>
        <p:spPr>
          <a:xfrm>
            <a:off x="7027200" y="0"/>
            <a:ext cx="2116801" cy="1856509"/>
          </a:xfrm>
          <a:prstGeom prst="rect">
            <a:avLst/>
          </a:prstGeom>
        </p:spPr>
      </p:pic>
      <p:pic>
        <p:nvPicPr>
          <p:cNvPr id="16"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sp>
        <p:nvSpPr>
          <p:cNvPr id="8" name="Espace réservé du texte 2">
            <a:extLst>
              <a:ext uri="{FF2B5EF4-FFF2-40B4-BE49-F238E27FC236}">
                <a16:creationId xmlns:a16="http://schemas.microsoft.com/office/drawing/2014/main" id="{5E9AB1AA-33F6-3FFD-8F1A-9BB4B728DF31}"/>
              </a:ext>
            </a:extLst>
          </p:cNvPr>
          <p:cNvSpPr>
            <a:spLocks noGrp="1"/>
          </p:cNvSpPr>
          <p:nvPr>
            <p:ph type="body" idx="1" hasCustomPrompt="1"/>
          </p:nvPr>
        </p:nvSpPr>
        <p:spPr>
          <a:xfrm>
            <a:off x="1300844" y="3526972"/>
            <a:ext cx="5535000" cy="378279"/>
          </a:xfrm>
        </p:spPr>
        <p:txBody>
          <a:bodyPr anchor="t">
            <a:normAutofit/>
          </a:bodyPr>
          <a:lstStyle>
            <a:lvl1pPr marL="0" indent="0" algn="r">
              <a:buNone/>
              <a:defRPr sz="1350" i="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Ici l’auteur de la citation</a:t>
            </a:r>
          </a:p>
        </p:txBody>
      </p:sp>
      <p:sp>
        <p:nvSpPr>
          <p:cNvPr id="9" name="Titre 1">
            <a:extLst>
              <a:ext uri="{FF2B5EF4-FFF2-40B4-BE49-F238E27FC236}">
                <a16:creationId xmlns:a16="http://schemas.microsoft.com/office/drawing/2014/main" id="{1EB622B9-FCAB-DF76-D3A8-8B7A3392A585}"/>
              </a:ext>
            </a:extLst>
          </p:cNvPr>
          <p:cNvSpPr>
            <a:spLocks noGrp="1"/>
          </p:cNvSpPr>
          <p:nvPr>
            <p:ph type="title" hasCustomPrompt="1"/>
          </p:nvPr>
        </p:nvSpPr>
        <p:spPr>
          <a:xfrm>
            <a:off x="1300844" y="1628775"/>
            <a:ext cx="5535000" cy="1800225"/>
          </a:xfrm>
        </p:spPr>
        <p:txBody>
          <a:bodyPr anchor="t">
            <a:normAutofit/>
          </a:bodyPr>
          <a:lstStyle>
            <a:lvl1pPr>
              <a:defRPr sz="3000">
                <a:solidFill>
                  <a:schemeClr val="bg1"/>
                </a:solidFill>
              </a:defRPr>
            </a:lvl1pPr>
          </a:lstStyle>
          <a:p>
            <a:r>
              <a:rPr lang="fr-FR" dirty="0"/>
              <a:t>Ici votre citation qui peut être sur plusieurs lignes ’’ </a:t>
            </a:r>
          </a:p>
        </p:txBody>
      </p:sp>
    </p:spTree>
    <p:extLst>
      <p:ext uri="{BB962C8B-B14F-4D97-AF65-F5344CB8AC3E}">
        <p14:creationId xmlns:p14="http://schemas.microsoft.com/office/powerpoint/2010/main" val="38785132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suel citation">
    <p:spTree>
      <p:nvGrpSpPr>
        <p:cNvPr id="1" name=""/>
        <p:cNvGrpSpPr/>
        <p:nvPr/>
      </p:nvGrpSpPr>
      <p:grpSpPr>
        <a:xfrm>
          <a:off x="0" y="0"/>
          <a:ext cx="0" cy="0"/>
          <a:chOff x="0" y="0"/>
          <a:chExt cx="0" cy="0"/>
        </a:xfrm>
      </p:grpSpPr>
      <p:grpSp>
        <p:nvGrpSpPr>
          <p:cNvPr id="19" name="Groupe 18">
            <a:extLst>
              <a:ext uri="{FF2B5EF4-FFF2-40B4-BE49-F238E27FC236}">
                <a16:creationId xmlns:a16="http://schemas.microsoft.com/office/drawing/2014/main" id="{75131BF9-1179-4373-984B-3BA3810DA921}"/>
              </a:ext>
            </a:extLst>
          </p:cNvPr>
          <p:cNvGrpSpPr/>
          <p:nvPr userDrawn="1"/>
        </p:nvGrpSpPr>
        <p:grpSpPr>
          <a:xfrm>
            <a:off x="154780" y="4666413"/>
            <a:ext cx="351000" cy="462210"/>
            <a:chOff x="206373" y="6221884"/>
            <a:chExt cx="468000" cy="616280"/>
          </a:xfrm>
        </p:grpSpPr>
        <p:sp>
          <p:nvSpPr>
            <p:cNvPr id="20" name="Rectangle 19">
              <a:extLst>
                <a:ext uri="{FF2B5EF4-FFF2-40B4-BE49-F238E27FC236}">
                  <a16:creationId xmlns:a16="http://schemas.microsoft.com/office/drawing/2014/main" id="{26D7E0A0-6204-A96D-17C4-F1F3019C9994}"/>
                </a:ext>
              </a:extLst>
            </p:cNvPr>
            <p:cNvSpPr/>
            <p:nvPr userDrawn="1"/>
          </p:nvSpPr>
          <p:spPr>
            <a:xfrm>
              <a:off x="206373" y="6221884"/>
              <a:ext cx="468000" cy="61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algn="ctr"/>
              <a:endParaRPr lang="fr-FR" sz="1350" dirty="0"/>
            </a:p>
          </p:txBody>
        </p:sp>
        <p:pic>
          <p:nvPicPr>
            <p:cNvPr id="21" name="Logo CEA">
              <a:extLst>
                <a:ext uri="{FF2B5EF4-FFF2-40B4-BE49-F238E27FC236}">
                  <a16:creationId xmlns:a16="http://schemas.microsoft.com/office/drawing/2014/main" id="{925ECDAD-C79A-E959-8415-90319293CF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897" y="6343650"/>
              <a:ext cx="365991" cy="365991"/>
            </a:xfrm>
            <a:prstGeom prst="rect">
              <a:avLst/>
            </a:prstGeom>
          </p:spPr>
        </p:pic>
      </p:grpSp>
      <p:sp>
        <p:nvSpPr>
          <p:cNvPr id="9" name="Espace réservé pour une image  8">
            <a:extLst>
              <a:ext uri="{FF2B5EF4-FFF2-40B4-BE49-F238E27FC236}">
                <a16:creationId xmlns:a16="http://schemas.microsoft.com/office/drawing/2014/main" id="{4C4230D1-9E7A-4F15-722D-49C58B4ED767}"/>
              </a:ext>
            </a:extLst>
          </p:cNvPr>
          <p:cNvSpPr>
            <a:spLocks noGrp="1"/>
          </p:cNvSpPr>
          <p:nvPr>
            <p:ph type="pic" sz="quarter" idx="13" hasCustomPrompt="1"/>
          </p:nvPr>
        </p:nvSpPr>
        <p:spPr>
          <a:xfrm>
            <a:off x="1" y="0"/>
            <a:ext cx="9144000" cy="5143500"/>
          </a:xfrm>
          <a:custGeom>
            <a:avLst/>
            <a:gdLst>
              <a:gd name="connsiteX0" fmla="*/ 257896 w 12192000"/>
              <a:gd name="connsiteY0" fmla="*/ 6343650 h 6858000"/>
              <a:gd name="connsiteX1" fmla="*/ 257896 w 12192000"/>
              <a:gd name="connsiteY1" fmla="*/ 6707250 h 6858000"/>
              <a:gd name="connsiteX2" fmla="*/ 621496 w 12192000"/>
              <a:gd name="connsiteY2" fmla="*/ 6707250 h 6858000"/>
              <a:gd name="connsiteX3" fmla="*/ 621496 w 12192000"/>
              <a:gd name="connsiteY3" fmla="*/ 634365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57896" y="6343650"/>
                </a:moveTo>
                <a:lnTo>
                  <a:pt x="257896" y="6707250"/>
                </a:lnTo>
                <a:lnTo>
                  <a:pt x="621496" y="6707250"/>
                </a:lnTo>
                <a:lnTo>
                  <a:pt x="621496" y="6343650"/>
                </a:lnTo>
                <a:close/>
                <a:moveTo>
                  <a:pt x="0" y="0"/>
                </a:moveTo>
                <a:lnTo>
                  <a:pt x="12192000" y="0"/>
                </a:lnTo>
                <a:lnTo>
                  <a:pt x="12192000" y="6858000"/>
                </a:lnTo>
                <a:lnTo>
                  <a:pt x="0" y="6858000"/>
                </a:lnTo>
                <a:close/>
              </a:path>
            </a:pathLst>
          </a:custGeom>
          <a:solidFill>
            <a:schemeClr val="bg1">
              <a:lumMod val="65000"/>
            </a:schemeClr>
          </a:solidFill>
        </p:spPr>
        <p:txBody>
          <a:bodyPr wrap="square" tIns="1872000">
            <a:noAutofit/>
          </a:bodyPr>
          <a:lstStyle>
            <a:lvl1pPr algn="ctr">
              <a:defRPr>
                <a:solidFill>
                  <a:schemeClr val="accent2">
                    <a:lumMod val="40000"/>
                    <a:lumOff val="60000"/>
                  </a:schemeClr>
                </a:solidFill>
              </a:defRPr>
            </a:lvl1pPr>
          </a:lstStyle>
          <a:p>
            <a:r>
              <a:rPr lang="fr-FR" dirty="0"/>
              <a:t>Insérez ou glissez votre image ici, puis placez votre image en arrière plan</a:t>
            </a:r>
          </a:p>
          <a:p>
            <a:endParaRPr lang="fr-FR" dirty="0"/>
          </a:p>
        </p:txBody>
      </p:sp>
      <p:sp>
        <p:nvSpPr>
          <p:cNvPr id="3" name="Espace réservé du texte 2">
            <a:extLst>
              <a:ext uri="{FF2B5EF4-FFF2-40B4-BE49-F238E27FC236}">
                <a16:creationId xmlns:a16="http://schemas.microsoft.com/office/drawing/2014/main" id="{5E8D3273-E080-F9CC-63A9-0032F5C40FC7}"/>
              </a:ext>
            </a:extLst>
          </p:cNvPr>
          <p:cNvSpPr>
            <a:spLocks noGrp="1"/>
          </p:cNvSpPr>
          <p:nvPr>
            <p:ph type="body" idx="1" hasCustomPrompt="1"/>
          </p:nvPr>
        </p:nvSpPr>
        <p:spPr>
          <a:xfrm>
            <a:off x="1262744" y="3526972"/>
            <a:ext cx="6242956" cy="378279"/>
          </a:xfrm>
        </p:spPr>
        <p:txBody>
          <a:bodyPr anchor="t">
            <a:normAutofit/>
          </a:bodyPr>
          <a:lstStyle>
            <a:lvl1pPr marL="0" indent="0" algn="r">
              <a:buNone/>
              <a:defRPr sz="1350" i="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Ici l’auteur de la citation</a:t>
            </a:r>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tx2"/>
                </a:solidFill>
              </a:defRPr>
            </a:lvl1pPr>
          </a:lstStyle>
          <a:p>
            <a:fld id="{0CBC77A0-1F4E-42FF-9FFC-F45C3A64AF90}" type="slidenum">
              <a:rPr lang="fr-FR" smtClean="0"/>
              <a:pPr/>
              <a:t>‹Nr.›</a:t>
            </a:fld>
            <a:endParaRPr lang="fr-FR" dirty="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citation</a:t>
            </a:r>
          </a:p>
          <a:p>
            <a:endParaRPr lang="fr-FR" sz="900" dirty="0">
              <a:solidFill>
                <a:schemeClr val="bg1">
                  <a:lumMod val="50000"/>
                </a:schemeClr>
              </a:solidFill>
            </a:endParaRPr>
          </a:p>
        </p:txBody>
      </p:sp>
      <p:sp>
        <p:nvSpPr>
          <p:cNvPr id="2" name="Titre 1">
            <a:extLst>
              <a:ext uri="{FF2B5EF4-FFF2-40B4-BE49-F238E27FC236}">
                <a16:creationId xmlns:a16="http://schemas.microsoft.com/office/drawing/2014/main" id="{2C297F72-9AE9-FCA1-E35C-172594739B42}"/>
              </a:ext>
            </a:extLst>
          </p:cNvPr>
          <p:cNvSpPr>
            <a:spLocks noGrp="1"/>
          </p:cNvSpPr>
          <p:nvPr>
            <p:ph type="title" hasCustomPrompt="1"/>
          </p:nvPr>
        </p:nvSpPr>
        <p:spPr>
          <a:xfrm>
            <a:off x="1262744" y="1285875"/>
            <a:ext cx="6242956" cy="2143125"/>
          </a:xfrm>
        </p:spPr>
        <p:txBody>
          <a:bodyPr tIns="468000" anchor="b">
            <a:normAutofit/>
          </a:bodyPr>
          <a:lstStyle>
            <a:lvl1pPr marL="428625" indent="-428625">
              <a:buSzPct val="200000"/>
              <a:buFont typeface="Arial Black" panose="020B0A04020102020204" pitchFamily="34" charset="0"/>
              <a:buChar char="“"/>
              <a:defRPr sz="3000">
                <a:solidFill>
                  <a:schemeClr val="bg1"/>
                </a:solidFill>
              </a:defRPr>
            </a:lvl1pPr>
          </a:lstStyle>
          <a:p>
            <a:r>
              <a:rPr lang="fr-FR" dirty="0"/>
              <a:t>Ici votre citation qui peut être sur plusieurs lignes ’’ </a:t>
            </a: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1"/>
            <a:ext cx="9144000" cy="507831"/>
          </a:xfrm>
          <a:prstGeom prst="rect">
            <a:avLst/>
          </a:prstGeom>
          <a:noFill/>
        </p:spPr>
        <p:txBody>
          <a:bodyPr wrap="square" rtlCol="0">
            <a:spAutoFit/>
          </a:bodyPr>
          <a:lstStyle/>
          <a:p>
            <a:r>
              <a:rPr lang="fr-FR" sz="900" dirty="0">
                <a:solidFill>
                  <a:schemeClr val="bg1">
                    <a:lumMod val="50000"/>
                  </a:schemeClr>
                </a:solidFill>
              </a:rPr>
              <a:t>Astuce :Pour fermer les guillemets de fin de citation ajoutez 2 apostrophes à la fin de votre texte (touche [4] du clavier)</a:t>
            </a:r>
          </a:p>
          <a:p>
            <a:r>
              <a:rPr lang="fr-FR" sz="900" dirty="0">
                <a:solidFill>
                  <a:schemeClr val="bg1">
                    <a:lumMod val="50000"/>
                  </a:schemeClr>
                </a:solidFill>
              </a:rPr>
              <a:t>Astuce :Après avoir insérez votre image, placez celle-ci en arrière plan : Clic droit + « Arrière plan »</a:t>
            </a:r>
          </a:p>
          <a:p>
            <a:r>
              <a:rPr lang="fr-FR" sz="900" dirty="0">
                <a:solidFill>
                  <a:schemeClr val="bg1">
                    <a:lumMod val="50000"/>
                  </a:schemeClr>
                </a:solidFill>
              </a:rPr>
              <a:t>Astuce :Après avoir insérez votre image, adaptez si besoin la couleur du texte en fonction de celle-ci</a:t>
            </a:r>
          </a:p>
        </p:txBody>
      </p:sp>
    </p:spTree>
    <p:extLst>
      <p:ext uri="{BB962C8B-B14F-4D97-AF65-F5344CB8AC3E}">
        <p14:creationId xmlns:p14="http://schemas.microsoft.com/office/powerpoint/2010/main" val="10962283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suel pleine page">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74F437C1-0C37-DF8E-EF64-2BA107BEFB2F}"/>
              </a:ext>
            </a:extLst>
          </p:cNvPr>
          <p:cNvGrpSpPr/>
          <p:nvPr userDrawn="1"/>
        </p:nvGrpSpPr>
        <p:grpSpPr>
          <a:xfrm>
            <a:off x="154780" y="4666413"/>
            <a:ext cx="351000" cy="462210"/>
            <a:chOff x="206373" y="6221884"/>
            <a:chExt cx="468000" cy="616280"/>
          </a:xfrm>
        </p:grpSpPr>
        <p:sp>
          <p:nvSpPr>
            <p:cNvPr id="12" name="Rectangle 11">
              <a:extLst>
                <a:ext uri="{FF2B5EF4-FFF2-40B4-BE49-F238E27FC236}">
                  <a16:creationId xmlns:a16="http://schemas.microsoft.com/office/drawing/2014/main" id="{19AF48E4-0EE8-3CC7-27AA-1591F5F46EA9}"/>
                </a:ext>
              </a:extLst>
            </p:cNvPr>
            <p:cNvSpPr/>
            <p:nvPr userDrawn="1"/>
          </p:nvSpPr>
          <p:spPr>
            <a:xfrm>
              <a:off x="206373" y="6221884"/>
              <a:ext cx="468000" cy="61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algn="ctr"/>
              <a:endParaRPr lang="fr-FR" sz="1350" dirty="0"/>
            </a:p>
          </p:txBody>
        </p:sp>
        <p:pic>
          <p:nvPicPr>
            <p:cNvPr id="13" name="Logo CEA">
              <a:extLst>
                <a:ext uri="{FF2B5EF4-FFF2-40B4-BE49-F238E27FC236}">
                  <a16:creationId xmlns:a16="http://schemas.microsoft.com/office/drawing/2014/main" id="{DFA7C964-126E-3D36-7408-04B6C0889C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897" y="6343650"/>
              <a:ext cx="365991" cy="365991"/>
            </a:xfrm>
            <a:prstGeom prst="rect">
              <a:avLst/>
            </a:prstGeom>
          </p:spPr>
        </p:pic>
      </p:grpSp>
      <p:sp>
        <p:nvSpPr>
          <p:cNvPr id="7" name="Espace réservé pour une image  6">
            <a:extLst>
              <a:ext uri="{FF2B5EF4-FFF2-40B4-BE49-F238E27FC236}">
                <a16:creationId xmlns:a16="http://schemas.microsoft.com/office/drawing/2014/main" id="{C5DB15CE-1737-19C7-773E-184AB58648CC}"/>
              </a:ext>
            </a:extLst>
          </p:cNvPr>
          <p:cNvSpPr>
            <a:spLocks noGrp="1"/>
          </p:cNvSpPr>
          <p:nvPr>
            <p:ph type="pic" sz="quarter" idx="13" hasCustomPrompt="1"/>
          </p:nvPr>
        </p:nvSpPr>
        <p:spPr>
          <a:xfrm>
            <a:off x="0" y="0"/>
            <a:ext cx="9144000" cy="5143500"/>
          </a:xfrm>
          <a:custGeom>
            <a:avLst/>
            <a:gdLst>
              <a:gd name="connsiteX0" fmla="*/ 257897 w 12192000"/>
              <a:gd name="connsiteY0" fmla="*/ 6343650 h 6858000"/>
              <a:gd name="connsiteX1" fmla="*/ 257897 w 12192000"/>
              <a:gd name="connsiteY1" fmla="*/ 6707250 h 6858000"/>
              <a:gd name="connsiteX2" fmla="*/ 621497 w 12192000"/>
              <a:gd name="connsiteY2" fmla="*/ 6707250 h 6858000"/>
              <a:gd name="connsiteX3" fmla="*/ 621497 w 12192000"/>
              <a:gd name="connsiteY3" fmla="*/ 634365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57897" y="6343650"/>
                </a:moveTo>
                <a:lnTo>
                  <a:pt x="257897" y="6707250"/>
                </a:lnTo>
                <a:lnTo>
                  <a:pt x="621497" y="6707250"/>
                </a:lnTo>
                <a:lnTo>
                  <a:pt x="621497" y="6343650"/>
                </a:lnTo>
                <a:close/>
                <a:moveTo>
                  <a:pt x="0" y="0"/>
                </a:moveTo>
                <a:lnTo>
                  <a:pt x="12192000" y="0"/>
                </a:lnTo>
                <a:lnTo>
                  <a:pt x="12192000" y="6858000"/>
                </a:lnTo>
                <a:lnTo>
                  <a:pt x="0" y="6858000"/>
                </a:lnTo>
                <a:close/>
              </a:path>
            </a:pathLst>
          </a:custGeom>
          <a:solidFill>
            <a:schemeClr val="bg1">
              <a:lumMod val="65000"/>
            </a:schemeClr>
          </a:solidFill>
        </p:spPr>
        <p:txBody>
          <a:bodyPr wrap="square" tIns="1872000">
            <a:noAutofit/>
          </a:bodyPr>
          <a:lstStyle>
            <a:lvl1pPr algn="ctr">
              <a:defRPr>
                <a:solidFill>
                  <a:schemeClr val="accent2">
                    <a:lumMod val="40000"/>
                    <a:lumOff val="60000"/>
                  </a:schemeClr>
                </a:solidFill>
              </a:defRPr>
            </a:lvl1pPr>
          </a:lstStyle>
          <a:p>
            <a:r>
              <a:rPr lang="fr-FR" dirty="0"/>
              <a:t>Insérez ou glissez votre image ici, puis placez votre image en arrière plan</a:t>
            </a:r>
          </a:p>
          <a:p>
            <a:endParaRPr lang="fr-FR" dirty="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tx2"/>
                </a:solidFill>
              </a:defRPr>
            </a:lvl1pPr>
          </a:lstStyle>
          <a:p>
            <a:fld id="{0CBC77A0-1F4E-42FF-9FFC-F45C3A64AF90}" type="slidenum">
              <a:rPr lang="fr-FR" smtClean="0"/>
              <a:pPr/>
              <a:t>‹Nr.›</a:t>
            </a:fld>
            <a:endParaRPr lang="fr-FR" dirty="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pleine page</a:t>
            </a:r>
          </a:p>
          <a:p>
            <a:endParaRPr lang="fr-FR" sz="900" dirty="0">
              <a:solidFill>
                <a:schemeClr val="bg1">
                  <a:lumMod val="50000"/>
                </a:schemeClr>
              </a:solidFill>
            </a:endParaRP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Après avoir insérez votre image, placez celle-ci en arrière plan : Clic droit + « Arrière plan »</a:t>
            </a:r>
          </a:p>
          <a:p>
            <a:endParaRPr lang="fr-FR" sz="900" dirty="0">
              <a:solidFill>
                <a:schemeClr val="bg1">
                  <a:lumMod val="50000"/>
                </a:schemeClr>
              </a:solidFill>
            </a:endParaRPr>
          </a:p>
        </p:txBody>
      </p:sp>
      <p:sp>
        <p:nvSpPr>
          <p:cNvPr id="14"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bg1"/>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31802577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Visuel pleine page + texte">
    <p:spTree>
      <p:nvGrpSpPr>
        <p:cNvPr id="1" name=""/>
        <p:cNvGrpSpPr/>
        <p:nvPr/>
      </p:nvGrpSpPr>
      <p:grpSpPr>
        <a:xfrm>
          <a:off x="0" y="0"/>
          <a:ext cx="0" cy="0"/>
          <a:chOff x="0" y="0"/>
          <a:chExt cx="0" cy="0"/>
        </a:xfrm>
      </p:grpSpPr>
      <p:grpSp>
        <p:nvGrpSpPr>
          <p:cNvPr id="10" name="Groupe 9">
            <a:extLst>
              <a:ext uri="{FF2B5EF4-FFF2-40B4-BE49-F238E27FC236}">
                <a16:creationId xmlns:a16="http://schemas.microsoft.com/office/drawing/2014/main" id="{E2FB537C-FD4D-0AEC-C133-0DAF4636E2B9}"/>
              </a:ext>
            </a:extLst>
          </p:cNvPr>
          <p:cNvGrpSpPr/>
          <p:nvPr userDrawn="1"/>
        </p:nvGrpSpPr>
        <p:grpSpPr>
          <a:xfrm>
            <a:off x="154780" y="4666413"/>
            <a:ext cx="351000" cy="462210"/>
            <a:chOff x="206373" y="6221884"/>
            <a:chExt cx="468000" cy="616280"/>
          </a:xfrm>
        </p:grpSpPr>
        <p:sp>
          <p:nvSpPr>
            <p:cNvPr id="12" name="Rectangle 11">
              <a:extLst>
                <a:ext uri="{FF2B5EF4-FFF2-40B4-BE49-F238E27FC236}">
                  <a16:creationId xmlns:a16="http://schemas.microsoft.com/office/drawing/2014/main" id="{D16ABDD6-A390-2C6E-2047-D4A9A9710027}"/>
                </a:ext>
              </a:extLst>
            </p:cNvPr>
            <p:cNvSpPr/>
            <p:nvPr userDrawn="1"/>
          </p:nvSpPr>
          <p:spPr>
            <a:xfrm>
              <a:off x="206373" y="6221884"/>
              <a:ext cx="468000" cy="61628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ctr">
              <a:spAutoFit/>
            </a:bodyPr>
            <a:lstStyle/>
            <a:p>
              <a:pPr algn="ctr"/>
              <a:endParaRPr lang="fr-FR" sz="1350" dirty="0"/>
            </a:p>
          </p:txBody>
        </p:sp>
        <p:pic>
          <p:nvPicPr>
            <p:cNvPr id="17" name="Logo CEA">
              <a:extLst>
                <a:ext uri="{FF2B5EF4-FFF2-40B4-BE49-F238E27FC236}">
                  <a16:creationId xmlns:a16="http://schemas.microsoft.com/office/drawing/2014/main" id="{B331915A-1A76-4EF6-2A1C-75D200A8FEE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57897" y="6343650"/>
              <a:ext cx="365991" cy="365991"/>
            </a:xfrm>
            <a:prstGeom prst="rect">
              <a:avLst/>
            </a:prstGeom>
          </p:spPr>
        </p:pic>
      </p:grpSp>
      <p:sp>
        <p:nvSpPr>
          <p:cNvPr id="8" name="Espace réservé pour une image  7">
            <a:extLst>
              <a:ext uri="{FF2B5EF4-FFF2-40B4-BE49-F238E27FC236}">
                <a16:creationId xmlns:a16="http://schemas.microsoft.com/office/drawing/2014/main" id="{BB2888C6-4081-3327-01C0-D9EA23523CDB}"/>
              </a:ext>
            </a:extLst>
          </p:cNvPr>
          <p:cNvSpPr>
            <a:spLocks noGrp="1"/>
          </p:cNvSpPr>
          <p:nvPr>
            <p:ph type="pic" sz="quarter" idx="13" hasCustomPrompt="1"/>
          </p:nvPr>
        </p:nvSpPr>
        <p:spPr>
          <a:xfrm>
            <a:off x="0" y="0"/>
            <a:ext cx="9144000" cy="5143500"/>
          </a:xfrm>
          <a:custGeom>
            <a:avLst/>
            <a:gdLst>
              <a:gd name="connsiteX0" fmla="*/ 257897 w 12192000"/>
              <a:gd name="connsiteY0" fmla="*/ 6343650 h 6858000"/>
              <a:gd name="connsiteX1" fmla="*/ 257897 w 12192000"/>
              <a:gd name="connsiteY1" fmla="*/ 6707250 h 6858000"/>
              <a:gd name="connsiteX2" fmla="*/ 621497 w 12192000"/>
              <a:gd name="connsiteY2" fmla="*/ 6707250 h 6858000"/>
              <a:gd name="connsiteX3" fmla="*/ 621497 w 12192000"/>
              <a:gd name="connsiteY3" fmla="*/ 6343650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257897" y="6343650"/>
                </a:moveTo>
                <a:lnTo>
                  <a:pt x="257897" y="6707250"/>
                </a:lnTo>
                <a:lnTo>
                  <a:pt x="621497" y="6707250"/>
                </a:lnTo>
                <a:lnTo>
                  <a:pt x="621497" y="6343650"/>
                </a:lnTo>
                <a:close/>
                <a:moveTo>
                  <a:pt x="0" y="0"/>
                </a:moveTo>
                <a:lnTo>
                  <a:pt x="12192000" y="0"/>
                </a:lnTo>
                <a:lnTo>
                  <a:pt x="12192000" y="6858000"/>
                </a:lnTo>
                <a:lnTo>
                  <a:pt x="0" y="6858000"/>
                </a:lnTo>
                <a:close/>
              </a:path>
            </a:pathLst>
          </a:custGeom>
          <a:solidFill>
            <a:schemeClr val="bg1">
              <a:lumMod val="65000"/>
            </a:schemeClr>
          </a:solidFill>
        </p:spPr>
        <p:txBody>
          <a:bodyPr wrap="square" tIns="1260000">
            <a:noAutofit/>
          </a:bodyPr>
          <a:lstStyle>
            <a:lvl1pPr algn="ctr">
              <a:defRPr>
                <a:solidFill>
                  <a:schemeClr val="accent2">
                    <a:lumMod val="40000"/>
                    <a:lumOff val="60000"/>
                  </a:schemeClr>
                </a:solidFill>
              </a:defRPr>
            </a:lvl1pPr>
          </a:lstStyle>
          <a:p>
            <a:r>
              <a:rPr lang="fr-FR" dirty="0"/>
              <a:t>Insérez ou glissez votre image ici, puis placez votre image en arrière plan</a:t>
            </a:r>
          </a:p>
          <a:p>
            <a:endParaRPr lang="fr-FR" dirty="0"/>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tx2"/>
                </a:solidFill>
              </a:defRPr>
            </a:lvl1pPr>
          </a:lstStyle>
          <a:p>
            <a:fld id="{0CBC77A0-1F4E-42FF-9FFC-F45C3A64AF90}" type="slidenum">
              <a:rPr lang="fr-FR" smtClean="0"/>
              <a:pPr/>
              <a:t>‹Nr.›</a:t>
            </a:fld>
            <a:endParaRPr lang="fr-FR" dirty="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Visuel pleine page + texte</a:t>
            </a:r>
          </a:p>
          <a:p>
            <a:endParaRPr lang="fr-FR" sz="900" dirty="0">
              <a:solidFill>
                <a:schemeClr val="bg1">
                  <a:lumMod val="50000"/>
                </a:schemeClr>
              </a:solidFill>
            </a:endParaRPr>
          </a:p>
        </p:txBody>
      </p:sp>
      <p:sp>
        <p:nvSpPr>
          <p:cNvPr id="15" name="ZoneTexte 14">
            <a:extLst>
              <a:ext uri="{FF2B5EF4-FFF2-40B4-BE49-F238E27FC236}">
                <a16:creationId xmlns:a16="http://schemas.microsoft.com/office/drawing/2014/main" id="{19AF9AF5-2FC3-0945-F0DB-EE6D50A5F6C8}"/>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Après avoir insérez votre image, placez celle-ci en arrière plan : Clic droit + « Arrière plan »</a:t>
            </a:r>
          </a:p>
          <a:p>
            <a:endParaRPr lang="fr-FR" sz="900" dirty="0">
              <a:solidFill>
                <a:schemeClr val="bg1">
                  <a:lumMod val="50000"/>
                </a:schemeClr>
              </a:solidFill>
            </a:endParaRPr>
          </a:p>
        </p:txBody>
      </p:sp>
      <p:sp>
        <p:nvSpPr>
          <p:cNvPr id="13" name="Espace réservé du texte 12">
            <a:extLst>
              <a:ext uri="{FF2B5EF4-FFF2-40B4-BE49-F238E27FC236}">
                <a16:creationId xmlns:a16="http://schemas.microsoft.com/office/drawing/2014/main" id="{4DB704B1-C9AF-2DEE-2915-BA6F9894D57C}"/>
              </a:ext>
            </a:extLst>
          </p:cNvPr>
          <p:cNvSpPr>
            <a:spLocks noGrp="1"/>
          </p:cNvSpPr>
          <p:nvPr>
            <p:ph type="body" sz="quarter" idx="15" hasCustomPrompt="1"/>
          </p:nvPr>
        </p:nvSpPr>
        <p:spPr>
          <a:xfrm>
            <a:off x="463858" y="1230085"/>
            <a:ext cx="8680142" cy="2579915"/>
          </a:xfrm>
          <a:custGeom>
            <a:avLst/>
            <a:gdLst>
              <a:gd name="connsiteX0" fmla="*/ 388580 w 11573522"/>
              <a:gd name="connsiteY0" fmla="*/ 2811978 h 3439886"/>
              <a:gd name="connsiteX1" fmla="*/ 266084 w 11573522"/>
              <a:gd name="connsiteY1" fmla="*/ 2905253 h 3439886"/>
              <a:gd name="connsiteX2" fmla="*/ 200780 w 11573522"/>
              <a:gd name="connsiteY2" fmla="*/ 2954731 h 3439886"/>
              <a:gd name="connsiteX3" fmla="*/ 388175 w 11573522"/>
              <a:gd name="connsiteY3" fmla="*/ 3100322 h 3439886"/>
              <a:gd name="connsiteX4" fmla="*/ 575977 w 11573522"/>
              <a:gd name="connsiteY4" fmla="*/ 2957569 h 3439886"/>
              <a:gd name="connsiteX5" fmla="*/ 388580 w 11573522"/>
              <a:gd name="connsiteY5" fmla="*/ 2811978 h 3439886"/>
              <a:gd name="connsiteX6" fmla="*/ 386147 w 11573522"/>
              <a:gd name="connsiteY6" fmla="*/ 0 h 3439886"/>
              <a:gd name="connsiteX7" fmla="*/ 392637 w 11573522"/>
              <a:gd name="connsiteY7" fmla="*/ 0 h 3439886"/>
              <a:gd name="connsiteX8" fmla="*/ 392637 w 11573522"/>
              <a:gd name="connsiteY8" fmla="*/ 28893 h 3439886"/>
              <a:gd name="connsiteX9" fmla="*/ 392637 w 11573522"/>
              <a:gd name="connsiteY9" fmla="*/ 131318 h 3439886"/>
              <a:gd name="connsiteX10" fmla="*/ 578816 w 11573522"/>
              <a:gd name="connsiteY10" fmla="*/ 275693 h 3439886"/>
              <a:gd name="connsiteX11" fmla="*/ 578816 w 11573522"/>
              <a:gd name="connsiteY11" fmla="*/ 97658 h 3439886"/>
              <a:gd name="connsiteX12" fmla="*/ 462924 w 11573522"/>
              <a:gd name="connsiteY12" fmla="*/ 7536 h 3439886"/>
              <a:gd name="connsiteX13" fmla="*/ 453234 w 11573522"/>
              <a:gd name="connsiteY13" fmla="*/ 0 h 3439886"/>
              <a:gd name="connsiteX14" fmla="*/ 464209 w 11573522"/>
              <a:gd name="connsiteY14" fmla="*/ 0 h 3439886"/>
              <a:gd name="connsiteX15" fmla="*/ 484510 w 11573522"/>
              <a:gd name="connsiteY15" fmla="*/ 15775 h 3439886"/>
              <a:gd name="connsiteX16" fmla="*/ 582061 w 11573522"/>
              <a:gd name="connsiteY16" fmla="*/ 91574 h 3439886"/>
              <a:gd name="connsiteX17" fmla="*/ 695192 w 11573522"/>
              <a:gd name="connsiteY17" fmla="*/ 5744 h 3439886"/>
              <a:gd name="connsiteX18" fmla="*/ 702764 w 11573522"/>
              <a:gd name="connsiteY18" fmla="*/ 0 h 3439886"/>
              <a:gd name="connsiteX19" fmla="*/ 2758098 w 11573522"/>
              <a:gd name="connsiteY19" fmla="*/ 0 h 3439886"/>
              <a:gd name="connsiteX20" fmla="*/ 2764588 w 11573522"/>
              <a:gd name="connsiteY20" fmla="*/ 0 h 3439886"/>
              <a:gd name="connsiteX21" fmla="*/ 2825185 w 11573522"/>
              <a:gd name="connsiteY21" fmla="*/ 0 h 3439886"/>
              <a:gd name="connsiteX22" fmla="*/ 2836160 w 11573522"/>
              <a:gd name="connsiteY22" fmla="*/ 0 h 3439886"/>
              <a:gd name="connsiteX23" fmla="*/ 3074715 w 11573522"/>
              <a:gd name="connsiteY23" fmla="*/ 0 h 3439886"/>
              <a:gd name="connsiteX24" fmla="*/ 9201571 w 11573522"/>
              <a:gd name="connsiteY24" fmla="*/ 0 h 3439886"/>
              <a:gd name="connsiteX25" fmla="*/ 11573522 w 11573522"/>
              <a:gd name="connsiteY25" fmla="*/ 0 h 3439886"/>
              <a:gd name="connsiteX26" fmla="*/ 11573522 w 11573522"/>
              <a:gd name="connsiteY26" fmla="*/ 3439886 h 3439886"/>
              <a:gd name="connsiteX27" fmla="*/ 962936 w 11573522"/>
              <a:gd name="connsiteY27" fmla="*/ 3439886 h 3439886"/>
              <a:gd name="connsiteX28" fmla="*/ 962936 w 11573522"/>
              <a:gd name="connsiteY28" fmla="*/ 3439632 h 3439886"/>
              <a:gd name="connsiteX29" fmla="*/ 962936 w 11573522"/>
              <a:gd name="connsiteY29" fmla="*/ 3438953 h 3439886"/>
              <a:gd name="connsiteX30" fmla="*/ 776757 w 11573522"/>
              <a:gd name="connsiteY30" fmla="*/ 3294579 h 3439886"/>
              <a:gd name="connsiteX31" fmla="*/ 776757 w 11573522"/>
              <a:gd name="connsiteY31" fmla="*/ 3429148 h 3439886"/>
              <a:gd name="connsiteX32" fmla="*/ 776757 w 11573522"/>
              <a:gd name="connsiteY32" fmla="*/ 3439886 h 3439886"/>
              <a:gd name="connsiteX33" fmla="*/ 769862 w 11573522"/>
              <a:gd name="connsiteY33" fmla="*/ 3439886 h 3439886"/>
              <a:gd name="connsiteX34" fmla="*/ 769862 w 11573522"/>
              <a:gd name="connsiteY34" fmla="*/ 3414403 h 3439886"/>
              <a:gd name="connsiteX35" fmla="*/ 769862 w 11573522"/>
              <a:gd name="connsiteY35" fmla="*/ 3292145 h 3439886"/>
              <a:gd name="connsiteX36" fmla="*/ 629924 w 11573522"/>
              <a:gd name="connsiteY36" fmla="*/ 3183458 h 3439886"/>
              <a:gd name="connsiteX37" fmla="*/ 633168 w 11573522"/>
              <a:gd name="connsiteY37" fmla="*/ 3177375 h 3439886"/>
              <a:gd name="connsiteX38" fmla="*/ 771079 w 11573522"/>
              <a:gd name="connsiteY38" fmla="*/ 3284034 h 3439886"/>
              <a:gd name="connsiteX39" fmla="*/ 771079 w 11573522"/>
              <a:gd name="connsiteY39" fmla="*/ 3105999 h 3439886"/>
              <a:gd name="connsiteX40" fmla="*/ 704963 w 11573522"/>
              <a:gd name="connsiteY40" fmla="*/ 3054900 h 3439886"/>
              <a:gd name="connsiteX41" fmla="*/ 708614 w 11573522"/>
              <a:gd name="connsiteY41" fmla="*/ 3049222 h 3439886"/>
              <a:gd name="connsiteX42" fmla="*/ 774323 w 11573522"/>
              <a:gd name="connsiteY42" fmla="*/ 3100322 h 3439886"/>
              <a:gd name="connsiteX43" fmla="*/ 962125 w 11573522"/>
              <a:gd name="connsiteY43" fmla="*/ 2957569 h 3439886"/>
              <a:gd name="connsiteX44" fmla="*/ 824621 w 11573522"/>
              <a:gd name="connsiteY44" fmla="*/ 2850911 h 3439886"/>
              <a:gd name="connsiteX45" fmla="*/ 828271 w 11573522"/>
              <a:gd name="connsiteY45" fmla="*/ 2844422 h 3439886"/>
              <a:gd name="connsiteX46" fmla="*/ 962936 w 11573522"/>
              <a:gd name="connsiteY46" fmla="*/ 2948647 h 3439886"/>
              <a:gd name="connsiteX47" fmla="*/ 962936 w 11573522"/>
              <a:gd name="connsiteY47" fmla="*/ 2770612 h 3439886"/>
              <a:gd name="connsiteX48" fmla="*/ 900065 w 11573522"/>
              <a:gd name="connsiteY48" fmla="*/ 2721947 h 3439886"/>
              <a:gd name="connsiteX49" fmla="*/ 903716 w 11573522"/>
              <a:gd name="connsiteY49" fmla="*/ 2715864 h 3439886"/>
              <a:gd name="connsiteX50" fmla="*/ 966181 w 11573522"/>
              <a:gd name="connsiteY50" fmla="*/ 2764529 h 3439886"/>
              <a:gd name="connsiteX51" fmla="*/ 1153982 w 11573522"/>
              <a:gd name="connsiteY51" fmla="*/ 2621777 h 3439886"/>
              <a:gd name="connsiteX52" fmla="*/ 969021 w 11573522"/>
              <a:gd name="connsiteY52" fmla="*/ 2478619 h 3439886"/>
              <a:gd name="connsiteX53" fmla="*/ 781219 w 11573522"/>
              <a:gd name="connsiteY53" fmla="*/ 2621371 h 3439886"/>
              <a:gd name="connsiteX54" fmla="*/ 903310 w 11573522"/>
              <a:gd name="connsiteY54" fmla="*/ 2715864 h 3439886"/>
              <a:gd name="connsiteX55" fmla="*/ 900065 w 11573522"/>
              <a:gd name="connsiteY55" fmla="*/ 2721542 h 3439886"/>
              <a:gd name="connsiteX56" fmla="*/ 776757 w 11573522"/>
              <a:gd name="connsiteY56" fmla="*/ 2626238 h 3439886"/>
              <a:gd name="connsiteX57" fmla="*/ 776757 w 11573522"/>
              <a:gd name="connsiteY57" fmla="*/ 2804273 h 3439886"/>
              <a:gd name="connsiteX58" fmla="*/ 828271 w 11573522"/>
              <a:gd name="connsiteY58" fmla="*/ 2844017 h 3439886"/>
              <a:gd name="connsiteX59" fmla="*/ 824215 w 11573522"/>
              <a:gd name="connsiteY59" fmla="*/ 2850506 h 3439886"/>
              <a:gd name="connsiteX60" fmla="*/ 774729 w 11573522"/>
              <a:gd name="connsiteY60" fmla="*/ 2811978 h 3439886"/>
              <a:gd name="connsiteX61" fmla="*/ 586928 w 11573522"/>
              <a:gd name="connsiteY61" fmla="*/ 2954731 h 3439886"/>
              <a:gd name="connsiteX62" fmla="*/ 708208 w 11573522"/>
              <a:gd name="connsiteY62" fmla="*/ 3048817 h 3439886"/>
              <a:gd name="connsiteX63" fmla="*/ 704963 w 11573522"/>
              <a:gd name="connsiteY63" fmla="*/ 3054900 h 3439886"/>
              <a:gd name="connsiteX64" fmla="*/ 584900 w 11573522"/>
              <a:gd name="connsiteY64" fmla="*/ 2961625 h 3439886"/>
              <a:gd name="connsiteX65" fmla="*/ 584900 w 11573522"/>
              <a:gd name="connsiteY65" fmla="*/ 3140065 h 3439886"/>
              <a:gd name="connsiteX66" fmla="*/ 633168 w 11573522"/>
              <a:gd name="connsiteY66" fmla="*/ 3177375 h 3439886"/>
              <a:gd name="connsiteX67" fmla="*/ 629518 w 11573522"/>
              <a:gd name="connsiteY67" fmla="*/ 3183052 h 3439886"/>
              <a:gd name="connsiteX68" fmla="*/ 582872 w 11573522"/>
              <a:gd name="connsiteY68" fmla="*/ 3146960 h 3439886"/>
              <a:gd name="connsiteX69" fmla="*/ 388175 w 11573522"/>
              <a:gd name="connsiteY69" fmla="*/ 3295390 h 3439886"/>
              <a:gd name="connsiteX70" fmla="*/ 191856 w 11573522"/>
              <a:gd name="connsiteY70" fmla="*/ 3143310 h 3439886"/>
              <a:gd name="connsiteX71" fmla="*/ 191856 w 11573522"/>
              <a:gd name="connsiteY71" fmla="*/ 3082477 h 3439886"/>
              <a:gd name="connsiteX72" fmla="*/ 198752 w 11573522"/>
              <a:gd name="connsiteY72" fmla="*/ 3085316 h 3439886"/>
              <a:gd name="connsiteX73" fmla="*/ 198752 w 11573522"/>
              <a:gd name="connsiteY73" fmla="*/ 3140065 h 3439886"/>
              <a:gd name="connsiteX74" fmla="*/ 384930 w 11573522"/>
              <a:gd name="connsiteY74" fmla="*/ 3284034 h 3439886"/>
              <a:gd name="connsiteX75" fmla="*/ 384930 w 11573522"/>
              <a:gd name="connsiteY75" fmla="*/ 3105999 h 3439886"/>
              <a:gd name="connsiteX76" fmla="*/ 198752 w 11573522"/>
              <a:gd name="connsiteY76" fmla="*/ 2961625 h 3439886"/>
              <a:gd name="connsiteX77" fmla="*/ 198752 w 11573522"/>
              <a:gd name="connsiteY77" fmla="*/ 3084911 h 3439886"/>
              <a:gd name="connsiteX78" fmla="*/ 191856 w 11573522"/>
              <a:gd name="connsiteY78" fmla="*/ 3082072 h 3439886"/>
              <a:gd name="connsiteX79" fmla="*/ 191856 w 11573522"/>
              <a:gd name="connsiteY79" fmla="*/ 2953108 h 3439886"/>
              <a:gd name="connsiteX80" fmla="*/ 259189 w 11573522"/>
              <a:gd name="connsiteY80" fmla="*/ 2902009 h 3439886"/>
              <a:gd name="connsiteX81" fmla="*/ 383713 w 11573522"/>
              <a:gd name="connsiteY81" fmla="*/ 2807517 h 3439886"/>
              <a:gd name="connsiteX82" fmla="*/ 383713 w 11573522"/>
              <a:gd name="connsiteY82" fmla="*/ 2715053 h 3439886"/>
              <a:gd name="connsiteX83" fmla="*/ 390609 w 11573522"/>
              <a:gd name="connsiteY83" fmla="*/ 2716269 h 3439886"/>
              <a:gd name="connsiteX84" fmla="*/ 390609 w 11573522"/>
              <a:gd name="connsiteY84" fmla="*/ 2804273 h 3439886"/>
              <a:gd name="connsiteX85" fmla="*/ 576788 w 11573522"/>
              <a:gd name="connsiteY85" fmla="*/ 2948647 h 3439886"/>
              <a:gd name="connsiteX86" fmla="*/ 576788 w 11573522"/>
              <a:gd name="connsiteY86" fmla="*/ 2770612 h 3439886"/>
              <a:gd name="connsiteX87" fmla="*/ 489174 w 11573522"/>
              <a:gd name="connsiteY87" fmla="*/ 2702481 h 3439886"/>
              <a:gd name="connsiteX88" fmla="*/ 492825 w 11573522"/>
              <a:gd name="connsiteY88" fmla="*/ 2697209 h 3439886"/>
              <a:gd name="connsiteX89" fmla="*/ 580033 w 11573522"/>
              <a:gd name="connsiteY89" fmla="*/ 2764529 h 3439886"/>
              <a:gd name="connsiteX90" fmla="*/ 767834 w 11573522"/>
              <a:gd name="connsiteY90" fmla="*/ 2621777 h 3439886"/>
              <a:gd name="connsiteX91" fmla="*/ 626679 w 11573522"/>
              <a:gd name="connsiteY91" fmla="*/ 2512280 h 3439886"/>
              <a:gd name="connsiteX92" fmla="*/ 630735 w 11573522"/>
              <a:gd name="connsiteY92" fmla="*/ 2507007 h 3439886"/>
              <a:gd name="connsiteX93" fmla="*/ 771079 w 11573522"/>
              <a:gd name="connsiteY93" fmla="*/ 2615693 h 3439886"/>
              <a:gd name="connsiteX94" fmla="*/ 771079 w 11573522"/>
              <a:gd name="connsiteY94" fmla="*/ 2437659 h 3439886"/>
              <a:gd name="connsiteX95" fmla="*/ 713481 w 11573522"/>
              <a:gd name="connsiteY95" fmla="*/ 2392644 h 3439886"/>
              <a:gd name="connsiteX96" fmla="*/ 717131 w 11573522"/>
              <a:gd name="connsiteY96" fmla="*/ 2387372 h 3439886"/>
              <a:gd name="connsiteX97" fmla="*/ 774323 w 11573522"/>
              <a:gd name="connsiteY97" fmla="*/ 2431576 h 3439886"/>
              <a:gd name="connsiteX98" fmla="*/ 962125 w 11573522"/>
              <a:gd name="connsiteY98" fmla="*/ 2288824 h 3439886"/>
              <a:gd name="connsiteX99" fmla="*/ 774729 w 11573522"/>
              <a:gd name="connsiteY99" fmla="*/ 2143638 h 3439886"/>
              <a:gd name="connsiteX100" fmla="*/ 586928 w 11573522"/>
              <a:gd name="connsiteY100" fmla="*/ 2286391 h 3439886"/>
              <a:gd name="connsiteX101" fmla="*/ 717131 w 11573522"/>
              <a:gd name="connsiteY101" fmla="*/ 2387372 h 3439886"/>
              <a:gd name="connsiteX102" fmla="*/ 713075 w 11573522"/>
              <a:gd name="connsiteY102" fmla="*/ 2392644 h 3439886"/>
              <a:gd name="connsiteX103" fmla="*/ 584900 w 11573522"/>
              <a:gd name="connsiteY103" fmla="*/ 2293285 h 3439886"/>
              <a:gd name="connsiteX104" fmla="*/ 584900 w 11573522"/>
              <a:gd name="connsiteY104" fmla="*/ 2471319 h 3439886"/>
              <a:gd name="connsiteX105" fmla="*/ 630329 w 11573522"/>
              <a:gd name="connsiteY105" fmla="*/ 2506602 h 3439886"/>
              <a:gd name="connsiteX106" fmla="*/ 626679 w 11573522"/>
              <a:gd name="connsiteY106" fmla="*/ 2512280 h 3439886"/>
              <a:gd name="connsiteX107" fmla="*/ 582872 w 11573522"/>
              <a:gd name="connsiteY107" fmla="*/ 2478619 h 3439886"/>
              <a:gd name="connsiteX108" fmla="*/ 395071 w 11573522"/>
              <a:gd name="connsiteY108" fmla="*/ 2621371 h 3439886"/>
              <a:gd name="connsiteX109" fmla="*/ 492825 w 11573522"/>
              <a:gd name="connsiteY109" fmla="*/ 2696804 h 3439886"/>
              <a:gd name="connsiteX110" fmla="*/ 488769 w 11573522"/>
              <a:gd name="connsiteY110" fmla="*/ 2702481 h 3439886"/>
              <a:gd name="connsiteX111" fmla="*/ 390609 w 11573522"/>
              <a:gd name="connsiteY111" fmla="*/ 2626238 h 3439886"/>
              <a:gd name="connsiteX112" fmla="*/ 390609 w 11573522"/>
              <a:gd name="connsiteY112" fmla="*/ 2715864 h 3439886"/>
              <a:gd name="connsiteX113" fmla="*/ 383713 w 11573522"/>
              <a:gd name="connsiteY113" fmla="*/ 2714647 h 3439886"/>
              <a:gd name="connsiteX114" fmla="*/ 383713 w 11573522"/>
              <a:gd name="connsiteY114" fmla="*/ 2623399 h 3439886"/>
              <a:gd name="connsiteX115" fmla="*/ 375601 w 11573522"/>
              <a:gd name="connsiteY115" fmla="*/ 2616910 h 3439886"/>
              <a:gd name="connsiteX116" fmla="*/ 375601 w 11573522"/>
              <a:gd name="connsiteY116" fmla="*/ 2608394 h 3439886"/>
              <a:gd name="connsiteX117" fmla="*/ 384930 w 11573522"/>
              <a:gd name="connsiteY117" fmla="*/ 2615693 h 3439886"/>
              <a:gd name="connsiteX118" fmla="*/ 384930 w 11573522"/>
              <a:gd name="connsiteY118" fmla="*/ 2437659 h 3439886"/>
              <a:gd name="connsiteX119" fmla="*/ 375601 w 11573522"/>
              <a:gd name="connsiteY119" fmla="*/ 2430360 h 3439886"/>
              <a:gd name="connsiteX120" fmla="*/ 375601 w 11573522"/>
              <a:gd name="connsiteY120" fmla="*/ 2421843 h 3439886"/>
              <a:gd name="connsiteX121" fmla="*/ 388175 w 11573522"/>
              <a:gd name="connsiteY121" fmla="*/ 2431576 h 3439886"/>
              <a:gd name="connsiteX122" fmla="*/ 575977 w 11573522"/>
              <a:gd name="connsiteY122" fmla="*/ 2288824 h 3439886"/>
              <a:gd name="connsiteX123" fmla="*/ 388580 w 11573522"/>
              <a:gd name="connsiteY123" fmla="*/ 2143638 h 3439886"/>
              <a:gd name="connsiteX124" fmla="*/ 200780 w 11573522"/>
              <a:gd name="connsiteY124" fmla="*/ 2286391 h 3439886"/>
              <a:gd name="connsiteX125" fmla="*/ 375195 w 11573522"/>
              <a:gd name="connsiteY125" fmla="*/ 2421843 h 3439886"/>
              <a:gd name="connsiteX126" fmla="*/ 375195 w 11573522"/>
              <a:gd name="connsiteY126" fmla="*/ 2429954 h 3439886"/>
              <a:gd name="connsiteX127" fmla="*/ 198752 w 11573522"/>
              <a:gd name="connsiteY127" fmla="*/ 2293285 h 3439886"/>
              <a:gd name="connsiteX128" fmla="*/ 198752 w 11573522"/>
              <a:gd name="connsiteY128" fmla="*/ 2471319 h 3439886"/>
              <a:gd name="connsiteX129" fmla="*/ 375195 w 11573522"/>
              <a:gd name="connsiteY129" fmla="*/ 2608394 h 3439886"/>
              <a:gd name="connsiteX130" fmla="*/ 375195 w 11573522"/>
              <a:gd name="connsiteY130" fmla="*/ 2616910 h 3439886"/>
              <a:gd name="connsiteX131" fmla="*/ 191856 w 11573522"/>
              <a:gd name="connsiteY131" fmla="*/ 2474563 h 3439886"/>
              <a:gd name="connsiteX132" fmla="*/ 191856 w 11573522"/>
              <a:gd name="connsiteY132" fmla="*/ 2284768 h 3439886"/>
              <a:gd name="connsiteX133" fmla="*/ 383713 w 11573522"/>
              <a:gd name="connsiteY133" fmla="*/ 2138772 h 3439886"/>
              <a:gd name="connsiteX134" fmla="*/ 383713 w 11573522"/>
              <a:gd name="connsiteY134" fmla="*/ 1959926 h 3439886"/>
              <a:gd name="connsiteX135" fmla="*/ 390609 w 11573522"/>
              <a:gd name="connsiteY135" fmla="*/ 1965198 h 3439886"/>
              <a:gd name="connsiteX136" fmla="*/ 390609 w 11573522"/>
              <a:gd name="connsiteY136" fmla="*/ 2136339 h 3439886"/>
              <a:gd name="connsiteX137" fmla="*/ 576788 w 11573522"/>
              <a:gd name="connsiteY137" fmla="*/ 2280307 h 3439886"/>
              <a:gd name="connsiteX138" fmla="*/ 576788 w 11573522"/>
              <a:gd name="connsiteY138" fmla="*/ 2102272 h 3439886"/>
              <a:gd name="connsiteX139" fmla="*/ 390609 w 11573522"/>
              <a:gd name="connsiteY139" fmla="*/ 1957898 h 3439886"/>
              <a:gd name="connsiteX140" fmla="*/ 390609 w 11573522"/>
              <a:gd name="connsiteY140" fmla="*/ 1964792 h 3439886"/>
              <a:gd name="connsiteX141" fmla="*/ 383713 w 11573522"/>
              <a:gd name="connsiteY141" fmla="*/ 1959520 h 3439886"/>
              <a:gd name="connsiteX142" fmla="*/ 383713 w 11573522"/>
              <a:gd name="connsiteY142" fmla="*/ 1949382 h 3439886"/>
              <a:gd name="connsiteX143" fmla="*/ 569487 w 11573522"/>
              <a:gd name="connsiteY143" fmla="*/ 1808251 h 3439886"/>
              <a:gd name="connsiteX144" fmla="*/ 575166 w 11573522"/>
              <a:gd name="connsiteY144" fmla="*/ 1812307 h 3439886"/>
              <a:gd name="connsiteX145" fmla="*/ 392637 w 11573522"/>
              <a:gd name="connsiteY145" fmla="*/ 1951004 h 3439886"/>
              <a:gd name="connsiteX146" fmla="*/ 580033 w 11573522"/>
              <a:gd name="connsiteY146" fmla="*/ 2096594 h 3439886"/>
              <a:gd name="connsiteX147" fmla="*/ 767834 w 11573522"/>
              <a:gd name="connsiteY147" fmla="*/ 1953437 h 3439886"/>
              <a:gd name="connsiteX148" fmla="*/ 580438 w 11573522"/>
              <a:gd name="connsiteY148" fmla="*/ 1808251 h 3439886"/>
              <a:gd name="connsiteX149" fmla="*/ 575166 w 11573522"/>
              <a:gd name="connsiteY149" fmla="*/ 1812307 h 3439886"/>
              <a:gd name="connsiteX150" fmla="*/ 569893 w 11573522"/>
              <a:gd name="connsiteY150" fmla="*/ 1807846 h 3439886"/>
              <a:gd name="connsiteX151" fmla="*/ 578005 w 11573522"/>
              <a:gd name="connsiteY151" fmla="*/ 1801763 h 3439886"/>
              <a:gd name="connsiteX152" fmla="*/ 578005 w 11573522"/>
              <a:gd name="connsiteY152" fmla="*/ 1795679 h 3439886"/>
              <a:gd name="connsiteX153" fmla="*/ 584900 w 11573522"/>
              <a:gd name="connsiteY153" fmla="*/ 1795679 h 3439886"/>
              <a:gd name="connsiteX154" fmla="*/ 584900 w 11573522"/>
              <a:gd name="connsiteY154" fmla="*/ 1802168 h 3439886"/>
              <a:gd name="connsiteX155" fmla="*/ 771079 w 11573522"/>
              <a:gd name="connsiteY155" fmla="*/ 1946137 h 3439886"/>
              <a:gd name="connsiteX156" fmla="*/ 771079 w 11573522"/>
              <a:gd name="connsiteY156" fmla="*/ 1783107 h 3439886"/>
              <a:gd name="connsiteX157" fmla="*/ 771079 w 11573522"/>
              <a:gd name="connsiteY157" fmla="*/ 1768508 h 3439886"/>
              <a:gd name="connsiteX158" fmla="*/ 584900 w 11573522"/>
              <a:gd name="connsiteY158" fmla="*/ 1624133 h 3439886"/>
              <a:gd name="connsiteX159" fmla="*/ 584900 w 11573522"/>
              <a:gd name="connsiteY159" fmla="*/ 1785541 h 3439886"/>
              <a:gd name="connsiteX160" fmla="*/ 584900 w 11573522"/>
              <a:gd name="connsiteY160" fmla="*/ 1795274 h 3439886"/>
              <a:gd name="connsiteX161" fmla="*/ 578005 w 11573522"/>
              <a:gd name="connsiteY161" fmla="*/ 1795274 h 3439886"/>
              <a:gd name="connsiteX162" fmla="*/ 578005 w 11573522"/>
              <a:gd name="connsiteY162" fmla="*/ 1621294 h 3439886"/>
              <a:gd name="connsiteX163" fmla="*/ 437661 w 11573522"/>
              <a:gd name="connsiteY163" fmla="*/ 1512608 h 3439886"/>
              <a:gd name="connsiteX164" fmla="*/ 441312 w 11573522"/>
              <a:gd name="connsiteY164" fmla="*/ 1506930 h 3439886"/>
              <a:gd name="connsiteX165" fmla="*/ 578816 w 11573522"/>
              <a:gd name="connsiteY165" fmla="*/ 1613589 h 3439886"/>
              <a:gd name="connsiteX166" fmla="*/ 578816 w 11573522"/>
              <a:gd name="connsiteY166" fmla="*/ 1435555 h 3439886"/>
              <a:gd name="connsiteX167" fmla="*/ 513106 w 11573522"/>
              <a:gd name="connsiteY167" fmla="*/ 1384456 h 3439886"/>
              <a:gd name="connsiteX168" fmla="*/ 516350 w 11573522"/>
              <a:gd name="connsiteY168" fmla="*/ 1378372 h 3439886"/>
              <a:gd name="connsiteX169" fmla="*/ 582061 w 11573522"/>
              <a:gd name="connsiteY169" fmla="*/ 1429472 h 3439886"/>
              <a:gd name="connsiteX170" fmla="*/ 769862 w 11573522"/>
              <a:gd name="connsiteY170" fmla="*/ 1286719 h 3439886"/>
              <a:gd name="connsiteX171" fmla="*/ 632763 w 11573522"/>
              <a:gd name="connsiteY171" fmla="*/ 1180060 h 3439886"/>
              <a:gd name="connsiteX172" fmla="*/ 636413 w 11573522"/>
              <a:gd name="connsiteY172" fmla="*/ 1173571 h 3439886"/>
              <a:gd name="connsiteX173" fmla="*/ 771079 w 11573522"/>
              <a:gd name="connsiteY173" fmla="*/ 1278203 h 3439886"/>
              <a:gd name="connsiteX174" fmla="*/ 771079 w 11573522"/>
              <a:gd name="connsiteY174" fmla="*/ 1099762 h 3439886"/>
              <a:gd name="connsiteX175" fmla="*/ 708208 w 11573522"/>
              <a:gd name="connsiteY175" fmla="*/ 1051096 h 3439886"/>
              <a:gd name="connsiteX176" fmla="*/ 711453 w 11573522"/>
              <a:gd name="connsiteY176" fmla="*/ 1045419 h 3439886"/>
              <a:gd name="connsiteX177" fmla="*/ 774323 w 11573522"/>
              <a:gd name="connsiteY177" fmla="*/ 1094085 h 3439886"/>
              <a:gd name="connsiteX178" fmla="*/ 962125 w 11573522"/>
              <a:gd name="connsiteY178" fmla="*/ 951332 h 3439886"/>
              <a:gd name="connsiteX179" fmla="*/ 777163 w 11573522"/>
              <a:gd name="connsiteY179" fmla="*/ 807769 h 3439886"/>
              <a:gd name="connsiteX180" fmla="*/ 589362 w 11573522"/>
              <a:gd name="connsiteY180" fmla="*/ 950521 h 3439886"/>
              <a:gd name="connsiteX181" fmla="*/ 711453 w 11573522"/>
              <a:gd name="connsiteY181" fmla="*/ 1045013 h 3439886"/>
              <a:gd name="connsiteX182" fmla="*/ 707802 w 11573522"/>
              <a:gd name="connsiteY182" fmla="*/ 1051096 h 3439886"/>
              <a:gd name="connsiteX183" fmla="*/ 584900 w 11573522"/>
              <a:gd name="connsiteY183" fmla="*/ 955388 h 3439886"/>
              <a:gd name="connsiteX184" fmla="*/ 584900 w 11573522"/>
              <a:gd name="connsiteY184" fmla="*/ 1133828 h 3439886"/>
              <a:gd name="connsiteX185" fmla="*/ 636008 w 11573522"/>
              <a:gd name="connsiteY185" fmla="*/ 1173571 h 3439886"/>
              <a:gd name="connsiteX186" fmla="*/ 632357 w 11573522"/>
              <a:gd name="connsiteY186" fmla="*/ 1180060 h 3439886"/>
              <a:gd name="connsiteX187" fmla="*/ 582872 w 11573522"/>
              <a:gd name="connsiteY187" fmla="*/ 1141534 h 3439886"/>
              <a:gd name="connsiteX188" fmla="*/ 395071 w 11573522"/>
              <a:gd name="connsiteY188" fmla="*/ 1284286 h 3439886"/>
              <a:gd name="connsiteX189" fmla="*/ 516350 w 11573522"/>
              <a:gd name="connsiteY189" fmla="*/ 1378372 h 3439886"/>
              <a:gd name="connsiteX190" fmla="*/ 512700 w 11573522"/>
              <a:gd name="connsiteY190" fmla="*/ 1384050 h 3439886"/>
              <a:gd name="connsiteX191" fmla="*/ 392637 w 11573522"/>
              <a:gd name="connsiteY191" fmla="*/ 1291180 h 3439886"/>
              <a:gd name="connsiteX192" fmla="*/ 392637 w 11573522"/>
              <a:gd name="connsiteY192" fmla="*/ 1469214 h 3439886"/>
              <a:gd name="connsiteX193" fmla="*/ 440906 w 11573522"/>
              <a:gd name="connsiteY193" fmla="*/ 1506525 h 3439886"/>
              <a:gd name="connsiteX194" fmla="*/ 437661 w 11573522"/>
              <a:gd name="connsiteY194" fmla="*/ 1512608 h 3439886"/>
              <a:gd name="connsiteX195" fmla="*/ 391015 w 11573522"/>
              <a:gd name="connsiteY195" fmla="*/ 1476514 h 3439886"/>
              <a:gd name="connsiteX196" fmla="*/ 195912 w 11573522"/>
              <a:gd name="connsiteY196" fmla="*/ 1624539 h 3439886"/>
              <a:gd name="connsiteX197" fmla="*/ 0 w 11573522"/>
              <a:gd name="connsiteY197" fmla="*/ 1472459 h 3439886"/>
              <a:gd name="connsiteX198" fmla="*/ 0 w 11573522"/>
              <a:gd name="connsiteY198" fmla="*/ 1412033 h 3439886"/>
              <a:gd name="connsiteX199" fmla="*/ 6490 w 11573522"/>
              <a:gd name="connsiteY199" fmla="*/ 1414872 h 3439886"/>
              <a:gd name="connsiteX200" fmla="*/ 6490 w 11573522"/>
              <a:gd name="connsiteY200" fmla="*/ 1469214 h 3439886"/>
              <a:gd name="connsiteX201" fmla="*/ 192668 w 11573522"/>
              <a:gd name="connsiteY201" fmla="*/ 1613589 h 3439886"/>
              <a:gd name="connsiteX202" fmla="*/ 192668 w 11573522"/>
              <a:gd name="connsiteY202" fmla="*/ 1435555 h 3439886"/>
              <a:gd name="connsiteX203" fmla="*/ 6490 w 11573522"/>
              <a:gd name="connsiteY203" fmla="*/ 1291180 h 3439886"/>
              <a:gd name="connsiteX204" fmla="*/ 6490 w 11573522"/>
              <a:gd name="connsiteY204" fmla="*/ 1414466 h 3439886"/>
              <a:gd name="connsiteX205" fmla="*/ 0 w 11573522"/>
              <a:gd name="connsiteY205" fmla="*/ 1411627 h 3439886"/>
              <a:gd name="connsiteX206" fmla="*/ 0 w 11573522"/>
              <a:gd name="connsiteY206" fmla="*/ 1282664 h 3439886"/>
              <a:gd name="connsiteX207" fmla="*/ 66926 w 11573522"/>
              <a:gd name="connsiteY207" fmla="*/ 1231565 h 3439886"/>
              <a:gd name="connsiteX208" fmla="*/ 73821 w 11573522"/>
              <a:gd name="connsiteY208" fmla="*/ 1234809 h 3439886"/>
              <a:gd name="connsiteX209" fmla="*/ 8924 w 11573522"/>
              <a:gd name="connsiteY209" fmla="*/ 1284286 h 3439886"/>
              <a:gd name="connsiteX210" fmla="*/ 196318 w 11573522"/>
              <a:gd name="connsiteY210" fmla="*/ 1429472 h 3439886"/>
              <a:gd name="connsiteX211" fmla="*/ 384119 w 11573522"/>
              <a:gd name="connsiteY211" fmla="*/ 1286719 h 3439886"/>
              <a:gd name="connsiteX212" fmla="*/ 196724 w 11573522"/>
              <a:gd name="connsiteY212" fmla="*/ 1141534 h 3439886"/>
              <a:gd name="connsiteX213" fmla="*/ 74227 w 11573522"/>
              <a:gd name="connsiteY213" fmla="*/ 1234403 h 3439886"/>
              <a:gd name="connsiteX214" fmla="*/ 67332 w 11573522"/>
              <a:gd name="connsiteY214" fmla="*/ 1231159 h 3439886"/>
              <a:gd name="connsiteX215" fmla="*/ 191856 w 11573522"/>
              <a:gd name="connsiteY215" fmla="*/ 1136667 h 3439886"/>
              <a:gd name="connsiteX216" fmla="*/ 191856 w 11573522"/>
              <a:gd name="connsiteY216" fmla="*/ 1044607 h 3439886"/>
              <a:gd name="connsiteX217" fmla="*/ 198752 w 11573522"/>
              <a:gd name="connsiteY217" fmla="*/ 1045419 h 3439886"/>
              <a:gd name="connsiteX218" fmla="*/ 198752 w 11573522"/>
              <a:gd name="connsiteY218" fmla="*/ 1133828 h 3439886"/>
              <a:gd name="connsiteX219" fmla="*/ 384524 w 11573522"/>
              <a:gd name="connsiteY219" fmla="*/ 1278203 h 3439886"/>
              <a:gd name="connsiteX220" fmla="*/ 384524 w 11573522"/>
              <a:gd name="connsiteY220" fmla="*/ 1099762 h 3439886"/>
              <a:gd name="connsiteX221" fmla="*/ 296912 w 11573522"/>
              <a:gd name="connsiteY221" fmla="*/ 1032037 h 3439886"/>
              <a:gd name="connsiteX222" fmla="*/ 300968 w 11573522"/>
              <a:gd name="connsiteY222" fmla="*/ 1026359 h 3439886"/>
              <a:gd name="connsiteX223" fmla="*/ 388175 w 11573522"/>
              <a:gd name="connsiteY223" fmla="*/ 1094085 h 3439886"/>
              <a:gd name="connsiteX224" fmla="*/ 575977 w 11573522"/>
              <a:gd name="connsiteY224" fmla="*/ 951332 h 3439886"/>
              <a:gd name="connsiteX225" fmla="*/ 434822 w 11573522"/>
              <a:gd name="connsiteY225" fmla="*/ 841835 h 3439886"/>
              <a:gd name="connsiteX226" fmla="*/ 438878 w 11573522"/>
              <a:gd name="connsiteY226" fmla="*/ 836158 h 3439886"/>
              <a:gd name="connsiteX227" fmla="*/ 578816 w 11573522"/>
              <a:gd name="connsiteY227" fmla="*/ 944843 h 3439886"/>
              <a:gd name="connsiteX228" fmla="*/ 578816 w 11573522"/>
              <a:gd name="connsiteY228" fmla="*/ 766808 h 3439886"/>
              <a:gd name="connsiteX229" fmla="*/ 521218 w 11573522"/>
              <a:gd name="connsiteY229" fmla="*/ 722199 h 3439886"/>
              <a:gd name="connsiteX230" fmla="*/ 525274 w 11573522"/>
              <a:gd name="connsiteY230" fmla="*/ 716927 h 3439886"/>
              <a:gd name="connsiteX231" fmla="*/ 582061 w 11573522"/>
              <a:gd name="connsiteY231" fmla="*/ 761131 h 3439886"/>
              <a:gd name="connsiteX232" fmla="*/ 769862 w 11573522"/>
              <a:gd name="connsiteY232" fmla="*/ 618379 h 3439886"/>
              <a:gd name="connsiteX233" fmla="*/ 582872 w 11573522"/>
              <a:gd name="connsiteY233" fmla="*/ 472787 h 3439886"/>
              <a:gd name="connsiteX234" fmla="*/ 395071 w 11573522"/>
              <a:gd name="connsiteY234" fmla="*/ 615540 h 3439886"/>
              <a:gd name="connsiteX235" fmla="*/ 524868 w 11573522"/>
              <a:gd name="connsiteY235" fmla="*/ 716521 h 3439886"/>
              <a:gd name="connsiteX236" fmla="*/ 521218 w 11573522"/>
              <a:gd name="connsiteY236" fmla="*/ 722199 h 3439886"/>
              <a:gd name="connsiteX237" fmla="*/ 392637 w 11573522"/>
              <a:gd name="connsiteY237" fmla="*/ 622434 h 3439886"/>
              <a:gd name="connsiteX238" fmla="*/ 392637 w 11573522"/>
              <a:gd name="connsiteY238" fmla="*/ 800875 h 3439886"/>
              <a:gd name="connsiteX239" fmla="*/ 438472 w 11573522"/>
              <a:gd name="connsiteY239" fmla="*/ 836158 h 3439886"/>
              <a:gd name="connsiteX240" fmla="*/ 434416 w 11573522"/>
              <a:gd name="connsiteY240" fmla="*/ 841430 h 3439886"/>
              <a:gd name="connsiteX241" fmla="*/ 391015 w 11573522"/>
              <a:gd name="connsiteY241" fmla="*/ 807769 h 3439886"/>
              <a:gd name="connsiteX242" fmla="*/ 203214 w 11573522"/>
              <a:gd name="connsiteY242" fmla="*/ 950521 h 3439886"/>
              <a:gd name="connsiteX243" fmla="*/ 300968 w 11573522"/>
              <a:gd name="connsiteY243" fmla="*/ 1026359 h 3439886"/>
              <a:gd name="connsiteX244" fmla="*/ 296912 w 11573522"/>
              <a:gd name="connsiteY244" fmla="*/ 1031630 h 3439886"/>
              <a:gd name="connsiteX245" fmla="*/ 198752 w 11573522"/>
              <a:gd name="connsiteY245" fmla="*/ 955388 h 3439886"/>
              <a:gd name="connsiteX246" fmla="*/ 198752 w 11573522"/>
              <a:gd name="connsiteY246" fmla="*/ 1045013 h 3439886"/>
              <a:gd name="connsiteX247" fmla="*/ 191856 w 11573522"/>
              <a:gd name="connsiteY247" fmla="*/ 1044202 h 3439886"/>
              <a:gd name="connsiteX248" fmla="*/ 191856 w 11573522"/>
              <a:gd name="connsiteY248" fmla="*/ 952954 h 3439886"/>
              <a:gd name="connsiteX249" fmla="*/ 183744 w 11573522"/>
              <a:gd name="connsiteY249" fmla="*/ 946465 h 3439886"/>
              <a:gd name="connsiteX250" fmla="*/ 183744 w 11573522"/>
              <a:gd name="connsiteY250" fmla="*/ 937949 h 3439886"/>
              <a:gd name="connsiteX251" fmla="*/ 192668 w 11573522"/>
              <a:gd name="connsiteY251" fmla="*/ 944843 h 3439886"/>
              <a:gd name="connsiteX252" fmla="*/ 192668 w 11573522"/>
              <a:gd name="connsiteY252" fmla="*/ 766808 h 3439886"/>
              <a:gd name="connsiteX253" fmla="*/ 183744 w 11573522"/>
              <a:gd name="connsiteY253" fmla="*/ 759914 h 3439886"/>
              <a:gd name="connsiteX254" fmla="*/ 183744 w 11573522"/>
              <a:gd name="connsiteY254" fmla="*/ 751398 h 3439886"/>
              <a:gd name="connsiteX255" fmla="*/ 196318 w 11573522"/>
              <a:gd name="connsiteY255" fmla="*/ 761131 h 3439886"/>
              <a:gd name="connsiteX256" fmla="*/ 384119 w 11573522"/>
              <a:gd name="connsiteY256" fmla="*/ 618379 h 3439886"/>
              <a:gd name="connsiteX257" fmla="*/ 196724 w 11573522"/>
              <a:gd name="connsiteY257" fmla="*/ 472787 h 3439886"/>
              <a:gd name="connsiteX258" fmla="*/ 8924 w 11573522"/>
              <a:gd name="connsiteY258" fmla="*/ 615540 h 3439886"/>
              <a:gd name="connsiteX259" fmla="*/ 183339 w 11573522"/>
              <a:gd name="connsiteY259" fmla="*/ 750992 h 3439886"/>
              <a:gd name="connsiteX260" fmla="*/ 183339 w 11573522"/>
              <a:gd name="connsiteY260" fmla="*/ 759508 h 3439886"/>
              <a:gd name="connsiteX261" fmla="*/ 6490 w 11573522"/>
              <a:gd name="connsiteY261" fmla="*/ 622434 h 3439886"/>
              <a:gd name="connsiteX262" fmla="*/ 6490 w 11573522"/>
              <a:gd name="connsiteY262" fmla="*/ 800875 h 3439886"/>
              <a:gd name="connsiteX263" fmla="*/ 183339 w 11573522"/>
              <a:gd name="connsiteY263" fmla="*/ 937544 h 3439886"/>
              <a:gd name="connsiteX264" fmla="*/ 183339 w 11573522"/>
              <a:gd name="connsiteY264" fmla="*/ 946060 h 3439886"/>
              <a:gd name="connsiteX265" fmla="*/ 0 w 11573522"/>
              <a:gd name="connsiteY265" fmla="*/ 804119 h 3439886"/>
              <a:gd name="connsiteX266" fmla="*/ 0 w 11573522"/>
              <a:gd name="connsiteY266" fmla="*/ 613917 h 3439886"/>
              <a:gd name="connsiteX267" fmla="*/ 191856 w 11573522"/>
              <a:gd name="connsiteY267" fmla="*/ 468327 h 3439886"/>
              <a:gd name="connsiteX268" fmla="*/ 191856 w 11573522"/>
              <a:gd name="connsiteY268" fmla="*/ 289076 h 3439886"/>
              <a:gd name="connsiteX269" fmla="*/ 198752 w 11573522"/>
              <a:gd name="connsiteY269" fmla="*/ 294348 h 3439886"/>
              <a:gd name="connsiteX270" fmla="*/ 198752 w 11573522"/>
              <a:gd name="connsiteY270" fmla="*/ 465488 h 3439886"/>
              <a:gd name="connsiteX271" fmla="*/ 384524 w 11573522"/>
              <a:gd name="connsiteY271" fmla="*/ 609862 h 3439886"/>
              <a:gd name="connsiteX272" fmla="*/ 384524 w 11573522"/>
              <a:gd name="connsiteY272" fmla="*/ 431828 h 3439886"/>
              <a:gd name="connsiteX273" fmla="*/ 198752 w 11573522"/>
              <a:gd name="connsiteY273" fmla="*/ 287453 h 3439886"/>
              <a:gd name="connsiteX274" fmla="*/ 198752 w 11573522"/>
              <a:gd name="connsiteY274" fmla="*/ 293942 h 3439886"/>
              <a:gd name="connsiteX275" fmla="*/ 191856 w 11573522"/>
              <a:gd name="connsiteY275" fmla="*/ 288670 h 3439886"/>
              <a:gd name="connsiteX276" fmla="*/ 191856 w 11573522"/>
              <a:gd name="connsiteY276" fmla="*/ 278937 h 3439886"/>
              <a:gd name="connsiteX277" fmla="*/ 377629 w 11573522"/>
              <a:gd name="connsiteY277" fmla="*/ 137401 h 3439886"/>
              <a:gd name="connsiteX278" fmla="*/ 383308 w 11573522"/>
              <a:gd name="connsiteY278" fmla="*/ 141862 h 3439886"/>
              <a:gd name="connsiteX279" fmla="*/ 200780 w 11573522"/>
              <a:gd name="connsiteY279" fmla="*/ 280559 h 3439886"/>
              <a:gd name="connsiteX280" fmla="*/ 388175 w 11573522"/>
              <a:gd name="connsiteY280" fmla="*/ 425745 h 3439886"/>
              <a:gd name="connsiteX281" fmla="*/ 575977 w 11573522"/>
              <a:gd name="connsiteY281" fmla="*/ 282993 h 3439886"/>
              <a:gd name="connsiteX282" fmla="*/ 388580 w 11573522"/>
              <a:gd name="connsiteY282" fmla="*/ 137807 h 3439886"/>
              <a:gd name="connsiteX283" fmla="*/ 383308 w 11573522"/>
              <a:gd name="connsiteY283" fmla="*/ 141862 h 3439886"/>
              <a:gd name="connsiteX284" fmla="*/ 378035 w 11573522"/>
              <a:gd name="connsiteY284" fmla="*/ 137401 h 3439886"/>
              <a:gd name="connsiteX285" fmla="*/ 386147 w 11573522"/>
              <a:gd name="connsiteY285" fmla="*/ 131318 h 3439886"/>
              <a:gd name="connsiteX286" fmla="*/ 386147 w 11573522"/>
              <a:gd name="connsiteY286" fmla="*/ 1350 h 343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11573522" h="3439886">
                <a:moveTo>
                  <a:pt x="388580" y="2811978"/>
                </a:moveTo>
                <a:cubicBezTo>
                  <a:pt x="266084" y="2905253"/>
                  <a:pt x="266084" y="2905253"/>
                  <a:pt x="266084" y="2905253"/>
                </a:cubicBezTo>
                <a:cubicBezTo>
                  <a:pt x="200780" y="2954731"/>
                  <a:pt x="200780" y="2954731"/>
                  <a:pt x="200780" y="2954731"/>
                </a:cubicBezTo>
                <a:cubicBezTo>
                  <a:pt x="388175" y="3100322"/>
                  <a:pt x="388175" y="3100322"/>
                  <a:pt x="388175" y="3100322"/>
                </a:cubicBezTo>
                <a:cubicBezTo>
                  <a:pt x="575977" y="2957569"/>
                  <a:pt x="575977" y="2957569"/>
                  <a:pt x="575977" y="2957569"/>
                </a:cubicBezTo>
                <a:cubicBezTo>
                  <a:pt x="388580" y="2811978"/>
                  <a:pt x="388580" y="2811978"/>
                  <a:pt x="388580" y="2811978"/>
                </a:cubicBezTo>
                <a:close/>
                <a:moveTo>
                  <a:pt x="386147" y="0"/>
                </a:moveTo>
                <a:lnTo>
                  <a:pt x="392637" y="0"/>
                </a:lnTo>
                <a:lnTo>
                  <a:pt x="392637" y="28893"/>
                </a:lnTo>
                <a:cubicBezTo>
                  <a:pt x="392637" y="131318"/>
                  <a:pt x="392637" y="131318"/>
                  <a:pt x="392637" y="131318"/>
                </a:cubicBezTo>
                <a:cubicBezTo>
                  <a:pt x="578816" y="275693"/>
                  <a:pt x="578816" y="275693"/>
                  <a:pt x="578816" y="275693"/>
                </a:cubicBezTo>
                <a:cubicBezTo>
                  <a:pt x="578816" y="97658"/>
                  <a:pt x="578816" y="97658"/>
                  <a:pt x="578816" y="97658"/>
                </a:cubicBezTo>
                <a:cubicBezTo>
                  <a:pt x="521320" y="52946"/>
                  <a:pt x="485384" y="25001"/>
                  <a:pt x="462924" y="7536"/>
                </a:cubicBezTo>
                <a:lnTo>
                  <a:pt x="453234" y="0"/>
                </a:lnTo>
                <a:lnTo>
                  <a:pt x="464209" y="0"/>
                </a:lnTo>
                <a:lnTo>
                  <a:pt x="484510" y="15775"/>
                </a:lnTo>
                <a:cubicBezTo>
                  <a:pt x="582061" y="91574"/>
                  <a:pt x="582061" y="91574"/>
                  <a:pt x="582061" y="91574"/>
                </a:cubicBezTo>
                <a:cubicBezTo>
                  <a:pt x="638188" y="48992"/>
                  <a:pt x="673267" y="22378"/>
                  <a:pt x="695192" y="5744"/>
                </a:cubicBezTo>
                <a:lnTo>
                  <a:pt x="702764" y="0"/>
                </a:lnTo>
                <a:lnTo>
                  <a:pt x="2758098" y="0"/>
                </a:lnTo>
                <a:lnTo>
                  <a:pt x="2764588" y="0"/>
                </a:lnTo>
                <a:lnTo>
                  <a:pt x="2825185" y="0"/>
                </a:lnTo>
                <a:lnTo>
                  <a:pt x="2836160" y="0"/>
                </a:lnTo>
                <a:lnTo>
                  <a:pt x="3074715" y="0"/>
                </a:lnTo>
                <a:lnTo>
                  <a:pt x="9201571" y="0"/>
                </a:lnTo>
                <a:lnTo>
                  <a:pt x="11573522" y="0"/>
                </a:lnTo>
                <a:lnTo>
                  <a:pt x="11573522" y="3439886"/>
                </a:lnTo>
                <a:lnTo>
                  <a:pt x="962936" y="3439886"/>
                </a:lnTo>
                <a:lnTo>
                  <a:pt x="962936" y="3439632"/>
                </a:lnTo>
                <a:cubicBezTo>
                  <a:pt x="962936" y="3438953"/>
                  <a:pt x="962936" y="3438953"/>
                  <a:pt x="962936" y="3438953"/>
                </a:cubicBezTo>
                <a:cubicBezTo>
                  <a:pt x="776757" y="3294579"/>
                  <a:pt x="776757" y="3294579"/>
                  <a:pt x="776757" y="3294579"/>
                </a:cubicBezTo>
                <a:cubicBezTo>
                  <a:pt x="776757" y="3361342"/>
                  <a:pt x="776757" y="3403069"/>
                  <a:pt x="776757" y="3429148"/>
                </a:cubicBezTo>
                <a:lnTo>
                  <a:pt x="776757" y="3439886"/>
                </a:lnTo>
                <a:lnTo>
                  <a:pt x="769862" y="3439886"/>
                </a:lnTo>
                <a:lnTo>
                  <a:pt x="769862" y="3414403"/>
                </a:lnTo>
                <a:cubicBezTo>
                  <a:pt x="769862" y="3292145"/>
                  <a:pt x="769862" y="3292145"/>
                  <a:pt x="769862" y="3292145"/>
                </a:cubicBezTo>
                <a:cubicBezTo>
                  <a:pt x="629924" y="3183458"/>
                  <a:pt x="629924" y="3183458"/>
                  <a:pt x="629924" y="3183458"/>
                </a:cubicBezTo>
                <a:cubicBezTo>
                  <a:pt x="633168" y="3177375"/>
                  <a:pt x="633168" y="3177375"/>
                  <a:pt x="633168" y="3177375"/>
                </a:cubicBezTo>
                <a:cubicBezTo>
                  <a:pt x="771079" y="3284034"/>
                  <a:pt x="771079" y="3284034"/>
                  <a:pt x="771079" y="3284034"/>
                </a:cubicBezTo>
                <a:cubicBezTo>
                  <a:pt x="771079" y="3105999"/>
                  <a:pt x="771079" y="3105999"/>
                  <a:pt x="771079" y="3105999"/>
                </a:cubicBezTo>
                <a:cubicBezTo>
                  <a:pt x="704963" y="3054900"/>
                  <a:pt x="704963" y="3054900"/>
                  <a:pt x="704963" y="3054900"/>
                </a:cubicBezTo>
                <a:cubicBezTo>
                  <a:pt x="708614" y="3049222"/>
                  <a:pt x="708614" y="3049222"/>
                  <a:pt x="708614" y="3049222"/>
                </a:cubicBezTo>
                <a:cubicBezTo>
                  <a:pt x="774323" y="3100322"/>
                  <a:pt x="774323" y="3100322"/>
                  <a:pt x="774323" y="3100322"/>
                </a:cubicBezTo>
                <a:cubicBezTo>
                  <a:pt x="962125" y="2957569"/>
                  <a:pt x="962125" y="2957569"/>
                  <a:pt x="962125" y="2957569"/>
                </a:cubicBezTo>
                <a:cubicBezTo>
                  <a:pt x="824621" y="2850911"/>
                  <a:pt x="824621" y="2850911"/>
                  <a:pt x="824621" y="2850911"/>
                </a:cubicBezTo>
                <a:cubicBezTo>
                  <a:pt x="828271" y="2844422"/>
                  <a:pt x="828271" y="2844422"/>
                  <a:pt x="828271" y="2844422"/>
                </a:cubicBezTo>
                <a:cubicBezTo>
                  <a:pt x="962936" y="2948647"/>
                  <a:pt x="962936" y="2948647"/>
                  <a:pt x="962936" y="2948647"/>
                </a:cubicBezTo>
                <a:cubicBezTo>
                  <a:pt x="962936" y="2770612"/>
                  <a:pt x="962936" y="2770612"/>
                  <a:pt x="962936" y="2770612"/>
                </a:cubicBezTo>
                <a:cubicBezTo>
                  <a:pt x="900065" y="2721947"/>
                  <a:pt x="900065" y="2721947"/>
                  <a:pt x="900065" y="2721947"/>
                </a:cubicBezTo>
                <a:cubicBezTo>
                  <a:pt x="903716" y="2715864"/>
                  <a:pt x="903716" y="2715864"/>
                  <a:pt x="903716" y="2715864"/>
                </a:cubicBezTo>
                <a:cubicBezTo>
                  <a:pt x="966181" y="2764529"/>
                  <a:pt x="966181" y="2764529"/>
                  <a:pt x="966181" y="2764529"/>
                </a:cubicBezTo>
                <a:cubicBezTo>
                  <a:pt x="1153982" y="2621777"/>
                  <a:pt x="1153982" y="2621777"/>
                  <a:pt x="1153982" y="2621777"/>
                </a:cubicBezTo>
                <a:cubicBezTo>
                  <a:pt x="969021" y="2478619"/>
                  <a:pt x="969021" y="2478619"/>
                  <a:pt x="969021" y="2478619"/>
                </a:cubicBezTo>
                <a:cubicBezTo>
                  <a:pt x="781219" y="2621371"/>
                  <a:pt x="781219" y="2621371"/>
                  <a:pt x="781219" y="2621371"/>
                </a:cubicBezTo>
                <a:cubicBezTo>
                  <a:pt x="903310" y="2715864"/>
                  <a:pt x="903310" y="2715864"/>
                  <a:pt x="903310" y="2715864"/>
                </a:cubicBezTo>
                <a:cubicBezTo>
                  <a:pt x="900065" y="2721542"/>
                  <a:pt x="900065" y="2721542"/>
                  <a:pt x="900065" y="2721542"/>
                </a:cubicBezTo>
                <a:cubicBezTo>
                  <a:pt x="776757" y="2626238"/>
                  <a:pt x="776757" y="2626238"/>
                  <a:pt x="776757" y="2626238"/>
                </a:cubicBezTo>
                <a:cubicBezTo>
                  <a:pt x="776757" y="2804273"/>
                  <a:pt x="776757" y="2804273"/>
                  <a:pt x="776757" y="2804273"/>
                </a:cubicBezTo>
                <a:cubicBezTo>
                  <a:pt x="828271" y="2844017"/>
                  <a:pt x="828271" y="2844017"/>
                  <a:pt x="828271" y="2844017"/>
                </a:cubicBezTo>
                <a:cubicBezTo>
                  <a:pt x="824215" y="2850506"/>
                  <a:pt x="824215" y="2850506"/>
                  <a:pt x="824215" y="2850506"/>
                </a:cubicBezTo>
                <a:cubicBezTo>
                  <a:pt x="774729" y="2811978"/>
                  <a:pt x="774729" y="2811978"/>
                  <a:pt x="774729" y="2811978"/>
                </a:cubicBezTo>
                <a:cubicBezTo>
                  <a:pt x="586928" y="2954731"/>
                  <a:pt x="586928" y="2954731"/>
                  <a:pt x="586928" y="2954731"/>
                </a:cubicBezTo>
                <a:cubicBezTo>
                  <a:pt x="708208" y="3048817"/>
                  <a:pt x="708208" y="3048817"/>
                  <a:pt x="708208" y="3048817"/>
                </a:cubicBezTo>
                <a:cubicBezTo>
                  <a:pt x="704963" y="3054900"/>
                  <a:pt x="704963" y="3054900"/>
                  <a:pt x="704963" y="3054900"/>
                </a:cubicBezTo>
                <a:cubicBezTo>
                  <a:pt x="584900" y="2961625"/>
                  <a:pt x="584900" y="2961625"/>
                  <a:pt x="584900" y="2961625"/>
                </a:cubicBezTo>
                <a:cubicBezTo>
                  <a:pt x="584900" y="3140065"/>
                  <a:pt x="584900" y="3140065"/>
                  <a:pt x="584900" y="3140065"/>
                </a:cubicBezTo>
                <a:cubicBezTo>
                  <a:pt x="633168" y="3177375"/>
                  <a:pt x="633168" y="3177375"/>
                  <a:pt x="633168" y="3177375"/>
                </a:cubicBezTo>
                <a:cubicBezTo>
                  <a:pt x="629518" y="3183052"/>
                  <a:pt x="629518" y="3183052"/>
                  <a:pt x="629518" y="3183052"/>
                </a:cubicBezTo>
                <a:cubicBezTo>
                  <a:pt x="582872" y="3146960"/>
                  <a:pt x="582872" y="3146960"/>
                  <a:pt x="582872" y="3146960"/>
                </a:cubicBezTo>
                <a:cubicBezTo>
                  <a:pt x="388175" y="3295390"/>
                  <a:pt x="388175" y="3295390"/>
                  <a:pt x="388175" y="3295390"/>
                </a:cubicBezTo>
                <a:cubicBezTo>
                  <a:pt x="191856" y="3143310"/>
                  <a:pt x="191856" y="3143310"/>
                  <a:pt x="191856" y="3143310"/>
                </a:cubicBezTo>
                <a:cubicBezTo>
                  <a:pt x="191856" y="3082477"/>
                  <a:pt x="191856" y="3082477"/>
                  <a:pt x="191856" y="3082477"/>
                </a:cubicBezTo>
                <a:cubicBezTo>
                  <a:pt x="198752" y="3085316"/>
                  <a:pt x="198752" y="3085316"/>
                  <a:pt x="198752" y="3085316"/>
                </a:cubicBezTo>
                <a:cubicBezTo>
                  <a:pt x="198752" y="3140065"/>
                  <a:pt x="198752" y="3140065"/>
                  <a:pt x="198752" y="3140065"/>
                </a:cubicBezTo>
                <a:cubicBezTo>
                  <a:pt x="384930" y="3284034"/>
                  <a:pt x="384930" y="3284034"/>
                  <a:pt x="384930" y="3284034"/>
                </a:cubicBezTo>
                <a:cubicBezTo>
                  <a:pt x="384930" y="3105999"/>
                  <a:pt x="384930" y="3105999"/>
                  <a:pt x="384930" y="3105999"/>
                </a:cubicBezTo>
                <a:cubicBezTo>
                  <a:pt x="198752" y="2961625"/>
                  <a:pt x="198752" y="2961625"/>
                  <a:pt x="198752" y="2961625"/>
                </a:cubicBezTo>
                <a:cubicBezTo>
                  <a:pt x="198752" y="3084911"/>
                  <a:pt x="198752" y="3084911"/>
                  <a:pt x="198752" y="3084911"/>
                </a:cubicBezTo>
                <a:cubicBezTo>
                  <a:pt x="191856" y="3082072"/>
                  <a:pt x="191856" y="3082072"/>
                  <a:pt x="191856" y="3082072"/>
                </a:cubicBezTo>
                <a:cubicBezTo>
                  <a:pt x="191856" y="2953108"/>
                  <a:pt x="191856" y="2953108"/>
                  <a:pt x="191856" y="2953108"/>
                </a:cubicBezTo>
                <a:cubicBezTo>
                  <a:pt x="259189" y="2902009"/>
                  <a:pt x="259189" y="2902009"/>
                  <a:pt x="259189" y="2902009"/>
                </a:cubicBezTo>
                <a:cubicBezTo>
                  <a:pt x="383713" y="2807517"/>
                  <a:pt x="383713" y="2807517"/>
                  <a:pt x="383713" y="2807517"/>
                </a:cubicBezTo>
                <a:cubicBezTo>
                  <a:pt x="383713" y="2715053"/>
                  <a:pt x="383713" y="2715053"/>
                  <a:pt x="383713" y="2715053"/>
                </a:cubicBezTo>
                <a:cubicBezTo>
                  <a:pt x="390609" y="2716269"/>
                  <a:pt x="390609" y="2716269"/>
                  <a:pt x="390609" y="2716269"/>
                </a:cubicBezTo>
                <a:cubicBezTo>
                  <a:pt x="390609" y="2804273"/>
                  <a:pt x="390609" y="2804273"/>
                  <a:pt x="390609" y="2804273"/>
                </a:cubicBezTo>
                <a:cubicBezTo>
                  <a:pt x="576788" y="2948647"/>
                  <a:pt x="576788" y="2948647"/>
                  <a:pt x="576788" y="2948647"/>
                </a:cubicBezTo>
                <a:cubicBezTo>
                  <a:pt x="576788" y="2770612"/>
                  <a:pt x="576788" y="2770612"/>
                  <a:pt x="576788" y="2770612"/>
                </a:cubicBezTo>
                <a:cubicBezTo>
                  <a:pt x="489174" y="2702481"/>
                  <a:pt x="489174" y="2702481"/>
                  <a:pt x="489174" y="2702481"/>
                </a:cubicBezTo>
                <a:cubicBezTo>
                  <a:pt x="492825" y="2697209"/>
                  <a:pt x="492825" y="2697209"/>
                  <a:pt x="492825" y="2697209"/>
                </a:cubicBezTo>
                <a:cubicBezTo>
                  <a:pt x="580033" y="2764529"/>
                  <a:pt x="580033" y="2764529"/>
                  <a:pt x="580033" y="2764529"/>
                </a:cubicBezTo>
                <a:cubicBezTo>
                  <a:pt x="767834" y="2621777"/>
                  <a:pt x="767834" y="2621777"/>
                  <a:pt x="767834" y="2621777"/>
                </a:cubicBezTo>
                <a:cubicBezTo>
                  <a:pt x="626679" y="2512280"/>
                  <a:pt x="626679" y="2512280"/>
                  <a:pt x="626679" y="2512280"/>
                </a:cubicBezTo>
                <a:cubicBezTo>
                  <a:pt x="630735" y="2507007"/>
                  <a:pt x="630735" y="2507007"/>
                  <a:pt x="630735" y="2507007"/>
                </a:cubicBezTo>
                <a:cubicBezTo>
                  <a:pt x="771079" y="2615693"/>
                  <a:pt x="771079" y="2615693"/>
                  <a:pt x="771079" y="2615693"/>
                </a:cubicBezTo>
                <a:cubicBezTo>
                  <a:pt x="771079" y="2437659"/>
                  <a:pt x="771079" y="2437659"/>
                  <a:pt x="771079" y="2437659"/>
                </a:cubicBezTo>
                <a:cubicBezTo>
                  <a:pt x="713481" y="2392644"/>
                  <a:pt x="713481" y="2392644"/>
                  <a:pt x="713481" y="2392644"/>
                </a:cubicBezTo>
                <a:cubicBezTo>
                  <a:pt x="717131" y="2387372"/>
                  <a:pt x="717131" y="2387372"/>
                  <a:pt x="717131" y="2387372"/>
                </a:cubicBezTo>
                <a:cubicBezTo>
                  <a:pt x="774323" y="2431576"/>
                  <a:pt x="774323" y="2431576"/>
                  <a:pt x="774323" y="2431576"/>
                </a:cubicBezTo>
                <a:cubicBezTo>
                  <a:pt x="962125" y="2288824"/>
                  <a:pt x="962125" y="2288824"/>
                  <a:pt x="962125" y="2288824"/>
                </a:cubicBezTo>
                <a:cubicBezTo>
                  <a:pt x="774729" y="2143638"/>
                  <a:pt x="774729" y="2143638"/>
                  <a:pt x="774729" y="2143638"/>
                </a:cubicBezTo>
                <a:cubicBezTo>
                  <a:pt x="586928" y="2286391"/>
                  <a:pt x="586928" y="2286391"/>
                  <a:pt x="586928" y="2286391"/>
                </a:cubicBezTo>
                <a:cubicBezTo>
                  <a:pt x="717131" y="2387372"/>
                  <a:pt x="717131" y="2387372"/>
                  <a:pt x="717131" y="2387372"/>
                </a:cubicBezTo>
                <a:cubicBezTo>
                  <a:pt x="713075" y="2392644"/>
                  <a:pt x="713075" y="2392644"/>
                  <a:pt x="713075" y="2392644"/>
                </a:cubicBezTo>
                <a:cubicBezTo>
                  <a:pt x="584900" y="2293285"/>
                  <a:pt x="584900" y="2293285"/>
                  <a:pt x="584900" y="2293285"/>
                </a:cubicBezTo>
                <a:cubicBezTo>
                  <a:pt x="584900" y="2471319"/>
                  <a:pt x="584900" y="2471319"/>
                  <a:pt x="584900" y="2471319"/>
                </a:cubicBezTo>
                <a:cubicBezTo>
                  <a:pt x="630329" y="2506602"/>
                  <a:pt x="630329" y="2506602"/>
                  <a:pt x="630329" y="2506602"/>
                </a:cubicBezTo>
                <a:cubicBezTo>
                  <a:pt x="626679" y="2512280"/>
                  <a:pt x="626679" y="2512280"/>
                  <a:pt x="626679" y="2512280"/>
                </a:cubicBezTo>
                <a:cubicBezTo>
                  <a:pt x="582872" y="2478619"/>
                  <a:pt x="582872" y="2478619"/>
                  <a:pt x="582872" y="2478619"/>
                </a:cubicBezTo>
                <a:cubicBezTo>
                  <a:pt x="395071" y="2621371"/>
                  <a:pt x="395071" y="2621371"/>
                  <a:pt x="395071" y="2621371"/>
                </a:cubicBezTo>
                <a:cubicBezTo>
                  <a:pt x="492825" y="2696804"/>
                  <a:pt x="492825" y="2696804"/>
                  <a:pt x="492825" y="2696804"/>
                </a:cubicBezTo>
                <a:cubicBezTo>
                  <a:pt x="488769" y="2702481"/>
                  <a:pt x="488769" y="2702481"/>
                  <a:pt x="488769" y="2702481"/>
                </a:cubicBezTo>
                <a:cubicBezTo>
                  <a:pt x="390609" y="2626238"/>
                  <a:pt x="390609" y="2626238"/>
                  <a:pt x="390609" y="2626238"/>
                </a:cubicBezTo>
                <a:cubicBezTo>
                  <a:pt x="390609" y="2715864"/>
                  <a:pt x="390609" y="2715864"/>
                  <a:pt x="390609" y="2715864"/>
                </a:cubicBezTo>
                <a:cubicBezTo>
                  <a:pt x="383713" y="2714647"/>
                  <a:pt x="383713" y="2714647"/>
                  <a:pt x="383713" y="2714647"/>
                </a:cubicBezTo>
                <a:cubicBezTo>
                  <a:pt x="383713" y="2623399"/>
                  <a:pt x="383713" y="2623399"/>
                  <a:pt x="383713" y="2623399"/>
                </a:cubicBezTo>
                <a:cubicBezTo>
                  <a:pt x="375601" y="2616910"/>
                  <a:pt x="375601" y="2616910"/>
                  <a:pt x="375601" y="2616910"/>
                </a:cubicBezTo>
                <a:cubicBezTo>
                  <a:pt x="375601" y="2608394"/>
                  <a:pt x="375601" y="2608394"/>
                  <a:pt x="375601" y="2608394"/>
                </a:cubicBezTo>
                <a:cubicBezTo>
                  <a:pt x="384930" y="2615693"/>
                  <a:pt x="384930" y="2615693"/>
                  <a:pt x="384930" y="2615693"/>
                </a:cubicBezTo>
                <a:cubicBezTo>
                  <a:pt x="384930" y="2437659"/>
                  <a:pt x="384930" y="2437659"/>
                  <a:pt x="384930" y="2437659"/>
                </a:cubicBezTo>
                <a:cubicBezTo>
                  <a:pt x="375601" y="2430360"/>
                  <a:pt x="375601" y="2430360"/>
                  <a:pt x="375601" y="2430360"/>
                </a:cubicBezTo>
                <a:cubicBezTo>
                  <a:pt x="375601" y="2421843"/>
                  <a:pt x="375601" y="2421843"/>
                  <a:pt x="375601" y="2421843"/>
                </a:cubicBezTo>
                <a:cubicBezTo>
                  <a:pt x="388175" y="2431576"/>
                  <a:pt x="388175" y="2431576"/>
                  <a:pt x="388175" y="2431576"/>
                </a:cubicBezTo>
                <a:cubicBezTo>
                  <a:pt x="575977" y="2288824"/>
                  <a:pt x="575977" y="2288824"/>
                  <a:pt x="575977" y="2288824"/>
                </a:cubicBezTo>
                <a:cubicBezTo>
                  <a:pt x="388580" y="2143638"/>
                  <a:pt x="388580" y="2143638"/>
                  <a:pt x="388580" y="2143638"/>
                </a:cubicBezTo>
                <a:cubicBezTo>
                  <a:pt x="200780" y="2286391"/>
                  <a:pt x="200780" y="2286391"/>
                  <a:pt x="200780" y="2286391"/>
                </a:cubicBezTo>
                <a:cubicBezTo>
                  <a:pt x="375195" y="2421843"/>
                  <a:pt x="375195" y="2421843"/>
                  <a:pt x="375195" y="2421843"/>
                </a:cubicBezTo>
                <a:cubicBezTo>
                  <a:pt x="375195" y="2429954"/>
                  <a:pt x="375195" y="2429954"/>
                  <a:pt x="375195" y="2429954"/>
                </a:cubicBezTo>
                <a:cubicBezTo>
                  <a:pt x="198752" y="2293285"/>
                  <a:pt x="198752" y="2293285"/>
                  <a:pt x="198752" y="2293285"/>
                </a:cubicBezTo>
                <a:cubicBezTo>
                  <a:pt x="198752" y="2471319"/>
                  <a:pt x="198752" y="2471319"/>
                  <a:pt x="198752" y="2471319"/>
                </a:cubicBezTo>
                <a:cubicBezTo>
                  <a:pt x="375195" y="2608394"/>
                  <a:pt x="375195" y="2608394"/>
                  <a:pt x="375195" y="2608394"/>
                </a:cubicBezTo>
                <a:cubicBezTo>
                  <a:pt x="375195" y="2616910"/>
                  <a:pt x="375195" y="2616910"/>
                  <a:pt x="375195" y="2616910"/>
                </a:cubicBezTo>
                <a:cubicBezTo>
                  <a:pt x="191856" y="2474563"/>
                  <a:pt x="191856" y="2474563"/>
                  <a:pt x="191856" y="2474563"/>
                </a:cubicBezTo>
                <a:cubicBezTo>
                  <a:pt x="191856" y="2284768"/>
                  <a:pt x="191856" y="2284768"/>
                  <a:pt x="191856" y="2284768"/>
                </a:cubicBezTo>
                <a:cubicBezTo>
                  <a:pt x="383713" y="2138772"/>
                  <a:pt x="383713" y="2138772"/>
                  <a:pt x="383713" y="2138772"/>
                </a:cubicBezTo>
                <a:cubicBezTo>
                  <a:pt x="383713" y="1959926"/>
                  <a:pt x="383713" y="1959926"/>
                  <a:pt x="383713" y="1959926"/>
                </a:cubicBezTo>
                <a:cubicBezTo>
                  <a:pt x="390609" y="1965198"/>
                  <a:pt x="390609" y="1965198"/>
                  <a:pt x="390609" y="1965198"/>
                </a:cubicBezTo>
                <a:cubicBezTo>
                  <a:pt x="390609" y="2136339"/>
                  <a:pt x="390609" y="2136339"/>
                  <a:pt x="390609" y="2136339"/>
                </a:cubicBezTo>
                <a:cubicBezTo>
                  <a:pt x="576788" y="2280307"/>
                  <a:pt x="576788" y="2280307"/>
                  <a:pt x="576788" y="2280307"/>
                </a:cubicBezTo>
                <a:cubicBezTo>
                  <a:pt x="576788" y="2102272"/>
                  <a:pt x="576788" y="2102272"/>
                  <a:pt x="576788" y="2102272"/>
                </a:cubicBezTo>
                <a:cubicBezTo>
                  <a:pt x="390609" y="1957898"/>
                  <a:pt x="390609" y="1957898"/>
                  <a:pt x="390609" y="1957898"/>
                </a:cubicBezTo>
                <a:cubicBezTo>
                  <a:pt x="390609" y="1964792"/>
                  <a:pt x="390609" y="1964792"/>
                  <a:pt x="390609" y="1964792"/>
                </a:cubicBezTo>
                <a:cubicBezTo>
                  <a:pt x="383713" y="1959520"/>
                  <a:pt x="383713" y="1959520"/>
                  <a:pt x="383713" y="1959520"/>
                </a:cubicBezTo>
                <a:cubicBezTo>
                  <a:pt x="383713" y="1949382"/>
                  <a:pt x="383713" y="1949382"/>
                  <a:pt x="383713" y="1949382"/>
                </a:cubicBezTo>
                <a:cubicBezTo>
                  <a:pt x="569487" y="1808251"/>
                  <a:pt x="569487" y="1808251"/>
                  <a:pt x="569487" y="1808251"/>
                </a:cubicBezTo>
                <a:cubicBezTo>
                  <a:pt x="575166" y="1812307"/>
                  <a:pt x="575166" y="1812307"/>
                  <a:pt x="575166" y="1812307"/>
                </a:cubicBezTo>
                <a:cubicBezTo>
                  <a:pt x="392637" y="1951004"/>
                  <a:pt x="392637" y="1951004"/>
                  <a:pt x="392637" y="1951004"/>
                </a:cubicBezTo>
                <a:cubicBezTo>
                  <a:pt x="580033" y="2096594"/>
                  <a:pt x="580033" y="2096594"/>
                  <a:pt x="580033" y="2096594"/>
                </a:cubicBezTo>
                <a:cubicBezTo>
                  <a:pt x="767834" y="1953437"/>
                  <a:pt x="767834" y="1953437"/>
                  <a:pt x="767834" y="1953437"/>
                </a:cubicBezTo>
                <a:cubicBezTo>
                  <a:pt x="580438" y="1808251"/>
                  <a:pt x="580438" y="1808251"/>
                  <a:pt x="580438" y="1808251"/>
                </a:cubicBezTo>
                <a:cubicBezTo>
                  <a:pt x="575166" y="1812307"/>
                  <a:pt x="575166" y="1812307"/>
                  <a:pt x="575166" y="1812307"/>
                </a:cubicBezTo>
                <a:cubicBezTo>
                  <a:pt x="569893" y="1807846"/>
                  <a:pt x="569893" y="1807846"/>
                  <a:pt x="569893" y="1807846"/>
                </a:cubicBezTo>
                <a:cubicBezTo>
                  <a:pt x="578005" y="1801763"/>
                  <a:pt x="578005" y="1801763"/>
                  <a:pt x="578005" y="1801763"/>
                </a:cubicBezTo>
                <a:cubicBezTo>
                  <a:pt x="578005" y="1795679"/>
                  <a:pt x="578005" y="1795679"/>
                  <a:pt x="578005" y="1795679"/>
                </a:cubicBezTo>
                <a:cubicBezTo>
                  <a:pt x="584900" y="1795679"/>
                  <a:pt x="584900" y="1795679"/>
                  <a:pt x="584900" y="1795679"/>
                </a:cubicBezTo>
                <a:cubicBezTo>
                  <a:pt x="584900" y="1802168"/>
                  <a:pt x="584900" y="1802168"/>
                  <a:pt x="584900" y="1802168"/>
                </a:cubicBezTo>
                <a:cubicBezTo>
                  <a:pt x="771079" y="1946137"/>
                  <a:pt x="771079" y="1946137"/>
                  <a:pt x="771079" y="1946137"/>
                </a:cubicBezTo>
                <a:cubicBezTo>
                  <a:pt x="771079" y="1783107"/>
                  <a:pt x="771079" y="1783107"/>
                  <a:pt x="771079" y="1783107"/>
                </a:cubicBezTo>
                <a:cubicBezTo>
                  <a:pt x="771079" y="1768508"/>
                  <a:pt x="771079" y="1768508"/>
                  <a:pt x="771079" y="1768508"/>
                </a:cubicBezTo>
                <a:cubicBezTo>
                  <a:pt x="584900" y="1624133"/>
                  <a:pt x="584900" y="1624133"/>
                  <a:pt x="584900" y="1624133"/>
                </a:cubicBezTo>
                <a:cubicBezTo>
                  <a:pt x="584900" y="1785541"/>
                  <a:pt x="584900" y="1785541"/>
                  <a:pt x="584900" y="1785541"/>
                </a:cubicBezTo>
                <a:cubicBezTo>
                  <a:pt x="584900" y="1795274"/>
                  <a:pt x="584900" y="1795274"/>
                  <a:pt x="584900" y="1795274"/>
                </a:cubicBezTo>
                <a:cubicBezTo>
                  <a:pt x="578005" y="1795274"/>
                  <a:pt x="578005" y="1795274"/>
                  <a:pt x="578005" y="1795274"/>
                </a:cubicBezTo>
                <a:cubicBezTo>
                  <a:pt x="578005" y="1621294"/>
                  <a:pt x="578005" y="1621294"/>
                  <a:pt x="578005" y="1621294"/>
                </a:cubicBezTo>
                <a:cubicBezTo>
                  <a:pt x="437661" y="1512608"/>
                  <a:pt x="437661" y="1512608"/>
                  <a:pt x="437661" y="1512608"/>
                </a:cubicBezTo>
                <a:cubicBezTo>
                  <a:pt x="441312" y="1506930"/>
                  <a:pt x="441312" y="1506930"/>
                  <a:pt x="441312" y="1506930"/>
                </a:cubicBezTo>
                <a:cubicBezTo>
                  <a:pt x="578816" y="1613589"/>
                  <a:pt x="578816" y="1613589"/>
                  <a:pt x="578816" y="1613589"/>
                </a:cubicBezTo>
                <a:cubicBezTo>
                  <a:pt x="578816" y="1435555"/>
                  <a:pt x="578816" y="1435555"/>
                  <a:pt x="578816" y="1435555"/>
                </a:cubicBezTo>
                <a:cubicBezTo>
                  <a:pt x="513106" y="1384456"/>
                  <a:pt x="513106" y="1384456"/>
                  <a:pt x="513106" y="1384456"/>
                </a:cubicBezTo>
                <a:cubicBezTo>
                  <a:pt x="516350" y="1378372"/>
                  <a:pt x="516350" y="1378372"/>
                  <a:pt x="516350" y="1378372"/>
                </a:cubicBezTo>
                <a:cubicBezTo>
                  <a:pt x="582061" y="1429472"/>
                  <a:pt x="582061" y="1429472"/>
                  <a:pt x="582061" y="1429472"/>
                </a:cubicBezTo>
                <a:cubicBezTo>
                  <a:pt x="769862" y="1286719"/>
                  <a:pt x="769862" y="1286719"/>
                  <a:pt x="769862" y="1286719"/>
                </a:cubicBezTo>
                <a:cubicBezTo>
                  <a:pt x="632763" y="1180060"/>
                  <a:pt x="632763" y="1180060"/>
                  <a:pt x="632763" y="1180060"/>
                </a:cubicBezTo>
                <a:cubicBezTo>
                  <a:pt x="636413" y="1173571"/>
                  <a:pt x="636413" y="1173571"/>
                  <a:pt x="636413" y="1173571"/>
                </a:cubicBezTo>
                <a:cubicBezTo>
                  <a:pt x="771079" y="1278203"/>
                  <a:pt x="771079" y="1278203"/>
                  <a:pt x="771079" y="1278203"/>
                </a:cubicBezTo>
                <a:cubicBezTo>
                  <a:pt x="771079" y="1099762"/>
                  <a:pt x="771079" y="1099762"/>
                  <a:pt x="771079" y="1099762"/>
                </a:cubicBezTo>
                <a:cubicBezTo>
                  <a:pt x="708208" y="1051096"/>
                  <a:pt x="708208" y="1051096"/>
                  <a:pt x="708208" y="1051096"/>
                </a:cubicBezTo>
                <a:cubicBezTo>
                  <a:pt x="711453" y="1045419"/>
                  <a:pt x="711453" y="1045419"/>
                  <a:pt x="711453" y="1045419"/>
                </a:cubicBezTo>
                <a:cubicBezTo>
                  <a:pt x="774323" y="1094085"/>
                  <a:pt x="774323" y="1094085"/>
                  <a:pt x="774323" y="1094085"/>
                </a:cubicBezTo>
                <a:cubicBezTo>
                  <a:pt x="962125" y="951332"/>
                  <a:pt x="962125" y="951332"/>
                  <a:pt x="962125" y="951332"/>
                </a:cubicBezTo>
                <a:cubicBezTo>
                  <a:pt x="777163" y="807769"/>
                  <a:pt x="777163" y="807769"/>
                  <a:pt x="777163" y="807769"/>
                </a:cubicBezTo>
                <a:cubicBezTo>
                  <a:pt x="589362" y="950521"/>
                  <a:pt x="589362" y="950521"/>
                  <a:pt x="589362" y="950521"/>
                </a:cubicBezTo>
                <a:cubicBezTo>
                  <a:pt x="711453" y="1045013"/>
                  <a:pt x="711453" y="1045013"/>
                  <a:pt x="711453" y="1045013"/>
                </a:cubicBezTo>
                <a:cubicBezTo>
                  <a:pt x="707802" y="1051096"/>
                  <a:pt x="707802" y="1051096"/>
                  <a:pt x="707802" y="1051096"/>
                </a:cubicBezTo>
                <a:cubicBezTo>
                  <a:pt x="584900" y="955388"/>
                  <a:pt x="584900" y="955388"/>
                  <a:pt x="584900" y="955388"/>
                </a:cubicBezTo>
                <a:cubicBezTo>
                  <a:pt x="584900" y="1133828"/>
                  <a:pt x="584900" y="1133828"/>
                  <a:pt x="584900" y="1133828"/>
                </a:cubicBezTo>
                <a:cubicBezTo>
                  <a:pt x="636008" y="1173571"/>
                  <a:pt x="636008" y="1173571"/>
                  <a:pt x="636008" y="1173571"/>
                </a:cubicBezTo>
                <a:cubicBezTo>
                  <a:pt x="632357" y="1180060"/>
                  <a:pt x="632357" y="1180060"/>
                  <a:pt x="632357" y="1180060"/>
                </a:cubicBezTo>
                <a:cubicBezTo>
                  <a:pt x="582872" y="1141534"/>
                  <a:pt x="582872" y="1141534"/>
                  <a:pt x="582872" y="1141534"/>
                </a:cubicBezTo>
                <a:cubicBezTo>
                  <a:pt x="395071" y="1284286"/>
                  <a:pt x="395071" y="1284286"/>
                  <a:pt x="395071" y="1284286"/>
                </a:cubicBezTo>
                <a:cubicBezTo>
                  <a:pt x="516350" y="1378372"/>
                  <a:pt x="516350" y="1378372"/>
                  <a:pt x="516350" y="1378372"/>
                </a:cubicBezTo>
                <a:cubicBezTo>
                  <a:pt x="512700" y="1384050"/>
                  <a:pt x="512700" y="1384050"/>
                  <a:pt x="512700" y="1384050"/>
                </a:cubicBezTo>
                <a:cubicBezTo>
                  <a:pt x="392637" y="1291180"/>
                  <a:pt x="392637" y="1291180"/>
                  <a:pt x="392637" y="1291180"/>
                </a:cubicBezTo>
                <a:cubicBezTo>
                  <a:pt x="392637" y="1469214"/>
                  <a:pt x="392637" y="1469214"/>
                  <a:pt x="392637" y="1469214"/>
                </a:cubicBezTo>
                <a:cubicBezTo>
                  <a:pt x="440906" y="1506525"/>
                  <a:pt x="440906" y="1506525"/>
                  <a:pt x="440906" y="1506525"/>
                </a:cubicBezTo>
                <a:cubicBezTo>
                  <a:pt x="437661" y="1512608"/>
                  <a:pt x="437661" y="1512608"/>
                  <a:pt x="437661" y="1512608"/>
                </a:cubicBezTo>
                <a:cubicBezTo>
                  <a:pt x="391015" y="1476514"/>
                  <a:pt x="391015" y="1476514"/>
                  <a:pt x="391015" y="1476514"/>
                </a:cubicBezTo>
                <a:cubicBezTo>
                  <a:pt x="195912" y="1624539"/>
                  <a:pt x="195912" y="1624539"/>
                  <a:pt x="195912" y="1624539"/>
                </a:cubicBezTo>
                <a:cubicBezTo>
                  <a:pt x="0" y="1472459"/>
                  <a:pt x="0" y="1472459"/>
                  <a:pt x="0" y="1472459"/>
                </a:cubicBezTo>
                <a:cubicBezTo>
                  <a:pt x="0" y="1412033"/>
                  <a:pt x="0" y="1412033"/>
                  <a:pt x="0" y="1412033"/>
                </a:cubicBezTo>
                <a:cubicBezTo>
                  <a:pt x="6490" y="1414872"/>
                  <a:pt x="6490" y="1414872"/>
                  <a:pt x="6490" y="1414872"/>
                </a:cubicBezTo>
                <a:cubicBezTo>
                  <a:pt x="6490" y="1469214"/>
                  <a:pt x="6490" y="1469214"/>
                  <a:pt x="6490" y="1469214"/>
                </a:cubicBezTo>
                <a:cubicBezTo>
                  <a:pt x="192668" y="1613589"/>
                  <a:pt x="192668" y="1613589"/>
                  <a:pt x="192668" y="1613589"/>
                </a:cubicBezTo>
                <a:cubicBezTo>
                  <a:pt x="192668" y="1435555"/>
                  <a:pt x="192668" y="1435555"/>
                  <a:pt x="192668" y="1435555"/>
                </a:cubicBezTo>
                <a:cubicBezTo>
                  <a:pt x="6490" y="1291180"/>
                  <a:pt x="6490" y="1291180"/>
                  <a:pt x="6490" y="1291180"/>
                </a:cubicBezTo>
                <a:cubicBezTo>
                  <a:pt x="6490" y="1414466"/>
                  <a:pt x="6490" y="1414466"/>
                  <a:pt x="6490" y="1414466"/>
                </a:cubicBezTo>
                <a:cubicBezTo>
                  <a:pt x="0" y="1411627"/>
                  <a:pt x="0" y="1411627"/>
                  <a:pt x="0" y="1411627"/>
                </a:cubicBezTo>
                <a:cubicBezTo>
                  <a:pt x="0" y="1282664"/>
                  <a:pt x="0" y="1282664"/>
                  <a:pt x="0" y="1282664"/>
                </a:cubicBezTo>
                <a:cubicBezTo>
                  <a:pt x="66926" y="1231565"/>
                  <a:pt x="66926" y="1231565"/>
                  <a:pt x="66926" y="1231565"/>
                </a:cubicBezTo>
                <a:cubicBezTo>
                  <a:pt x="73821" y="1234809"/>
                  <a:pt x="73821" y="1234809"/>
                  <a:pt x="73821" y="1234809"/>
                </a:cubicBezTo>
                <a:cubicBezTo>
                  <a:pt x="8924" y="1284286"/>
                  <a:pt x="8924" y="1284286"/>
                  <a:pt x="8924" y="1284286"/>
                </a:cubicBezTo>
                <a:cubicBezTo>
                  <a:pt x="196318" y="1429472"/>
                  <a:pt x="196318" y="1429472"/>
                  <a:pt x="196318" y="1429472"/>
                </a:cubicBezTo>
                <a:cubicBezTo>
                  <a:pt x="384119" y="1286719"/>
                  <a:pt x="384119" y="1286719"/>
                  <a:pt x="384119" y="1286719"/>
                </a:cubicBezTo>
                <a:cubicBezTo>
                  <a:pt x="196724" y="1141534"/>
                  <a:pt x="196724" y="1141534"/>
                  <a:pt x="196724" y="1141534"/>
                </a:cubicBezTo>
                <a:cubicBezTo>
                  <a:pt x="74227" y="1234403"/>
                  <a:pt x="74227" y="1234403"/>
                  <a:pt x="74227" y="1234403"/>
                </a:cubicBezTo>
                <a:cubicBezTo>
                  <a:pt x="67332" y="1231159"/>
                  <a:pt x="67332" y="1231159"/>
                  <a:pt x="67332" y="1231159"/>
                </a:cubicBezTo>
                <a:cubicBezTo>
                  <a:pt x="191856" y="1136667"/>
                  <a:pt x="191856" y="1136667"/>
                  <a:pt x="191856" y="1136667"/>
                </a:cubicBezTo>
                <a:cubicBezTo>
                  <a:pt x="191856" y="1044607"/>
                  <a:pt x="191856" y="1044607"/>
                  <a:pt x="191856" y="1044607"/>
                </a:cubicBezTo>
                <a:cubicBezTo>
                  <a:pt x="198752" y="1045419"/>
                  <a:pt x="198752" y="1045419"/>
                  <a:pt x="198752" y="1045419"/>
                </a:cubicBezTo>
                <a:cubicBezTo>
                  <a:pt x="198752" y="1133828"/>
                  <a:pt x="198752" y="1133828"/>
                  <a:pt x="198752" y="1133828"/>
                </a:cubicBezTo>
                <a:cubicBezTo>
                  <a:pt x="384524" y="1278203"/>
                  <a:pt x="384524" y="1278203"/>
                  <a:pt x="384524" y="1278203"/>
                </a:cubicBezTo>
                <a:cubicBezTo>
                  <a:pt x="384524" y="1099762"/>
                  <a:pt x="384524" y="1099762"/>
                  <a:pt x="384524" y="1099762"/>
                </a:cubicBezTo>
                <a:cubicBezTo>
                  <a:pt x="296912" y="1032037"/>
                  <a:pt x="296912" y="1032037"/>
                  <a:pt x="296912" y="1032037"/>
                </a:cubicBezTo>
                <a:cubicBezTo>
                  <a:pt x="300968" y="1026359"/>
                  <a:pt x="300968" y="1026359"/>
                  <a:pt x="300968" y="1026359"/>
                </a:cubicBezTo>
                <a:cubicBezTo>
                  <a:pt x="388175" y="1094085"/>
                  <a:pt x="388175" y="1094085"/>
                  <a:pt x="388175" y="1094085"/>
                </a:cubicBezTo>
                <a:cubicBezTo>
                  <a:pt x="575977" y="951332"/>
                  <a:pt x="575977" y="951332"/>
                  <a:pt x="575977" y="951332"/>
                </a:cubicBezTo>
                <a:cubicBezTo>
                  <a:pt x="434822" y="841835"/>
                  <a:pt x="434822" y="841835"/>
                  <a:pt x="434822" y="841835"/>
                </a:cubicBezTo>
                <a:cubicBezTo>
                  <a:pt x="438878" y="836158"/>
                  <a:pt x="438878" y="836158"/>
                  <a:pt x="438878" y="836158"/>
                </a:cubicBezTo>
                <a:cubicBezTo>
                  <a:pt x="578816" y="944843"/>
                  <a:pt x="578816" y="944843"/>
                  <a:pt x="578816" y="944843"/>
                </a:cubicBezTo>
                <a:cubicBezTo>
                  <a:pt x="578816" y="766808"/>
                  <a:pt x="578816" y="766808"/>
                  <a:pt x="578816" y="766808"/>
                </a:cubicBezTo>
                <a:cubicBezTo>
                  <a:pt x="521218" y="722199"/>
                  <a:pt x="521218" y="722199"/>
                  <a:pt x="521218" y="722199"/>
                </a:cubicBezTo>
                <a:cubicBezTo>
                  <a:pt x="525274" y="716927"/>
                  <a:pt x="525274" y="716927"/>
                  <a:pt x="525274" y="716927"/>
                </a:cubicBezTo>
                <a:cubicBezTo>
                  <a:pt x="582061" y="761131"/>
                  <a:pt x="582061" y="761131"/>
                  <a:pt x="582061" y="761131"/>
                </a:cubicBezTo>
                <a:cubicBezTo>
                  <a:pt x="769862" y="618379"/>
                  <a:pt x="769862" y="618379"/>
                  <a:pt x="769862" y="618379"/>
                </a:cubicBezTo>
                <a:cubicBezTo>
                  <a:pt x="582872" y="472787"/>
                  <a:pt x="582872" y="472787"/>
                  <a:pt x="582872" y="472787"/>
                </a:cubicBezTo>
                <a:cubicBezTo>
                  <a:pt x="395071" y="615540"/>
                  <a:pt x="395071" y="615540"/>
                  <a:pt x="395071" y="615540"/>
                </a:cubicBezTo>
                <a:cubicBezTo>
                  <a:pt x="524868" y="716521"/>
                  <a:pt x="524868" y="716521"/>
                  <a:pt x="524868" y="716521"/>
                </a:cubicBezTo>
                <a:cubicBezTo>
                  <a:pt x="521218" y="722199"/>
                  <a:pt x="521218" y="722199"/>
                  <a:pt x="521218" y="722199"/>
                </a:cubicBezTo>
                <a:cubicBezTo>
                  <a:pt x="392637" y="622434"/>
                  <a:pt x="392637" y="622434"/>
                  <a:pt x="392637" y="622434"/>
                </a:cubicBezTo>
                <a:cubicBezTo>
                  <a:pt x="392637" y="800875"/>
                  <a:pt x="392637" y="800875"/>
                  <a:pt x="392637" y="800875"/>
                </a:cubicBezTo>
                <a:cubicBezTo>
                  <a:pt x="438472" y="836158"/>
                  <a:pt x="438472" y="836158"/>
                  <a:pt x="438472" y="836158"/>
                </a:cubicBezTo>
                <a:cubicBezTo>
                  <a:pt x="434416" y="841430"/>
                  <a:pt x="434416" y="841430"/>
                  <a:pt x="434416" y="841430"/>
                </a:cubicBezTo>
                <a:cubicBezTo>
                  <a:pt x="391015" y="807769"/>
                  <a:pt x="391015" y="807769"/>
                  <a:pt x="391015" y="807769"/>
                </a:cubicBezTo>
                <a:cubicBezTo>
                  <a:pt x="203214" y="950521"/>
                  <a:pt x="203214" y="950521"/>
                  <a:pt x="203214" y="950521"/>
                </a:cubicBezTo>
                <a:cubicBezTo>
                  <a:pt x="300968" y="1026359"/>
                  <a:pt x="300968" y="1026359"/>
                  <a:pt x="300968" y="1026359"/>
                </a:cubicBezTo>
                <a:cubicBezTo>
                  <a:pt x="296912" y="1031630"/>
                  <a:pt x="296912" y="1031630"/>
                  <a:pt x="296912" y="1031630"/>
                </a:cubicBezTo>
                <a:cubicBezTo>
                  <a:pt x="198752" y="955388"/>
                  <a:pt x="198752" y="955388"/>
                  <a:pt x="198752" y="955388"/>
                </a:cubicBezTo>
                <a:cubicBezTo>
                  <a:pt x="198752" y="1045013"/>
                  <a:pt x="198752" y="1045013"/>
                  <a:pt x="198752" y="1045013"/>
                </a:cubicBezTo>
                <a:cubicBezTo>
                  <a:pt x="191856" y="1044202"/>
                  <a:pt x="191856" y="1044202"/>
                  <a:pt x="191856" y="1044202"/>
                </a:cubicBezTo>
                <a:cubicBezTo>
                  <a:pt x="191856" y="952954"/>
                  <a:pt x="191856" y="952954"/>
                  <a:pt x="191856" y="952954"/>
                </a:cubicBezTo>
                <a:cubicBezTo>
                  <a:pt x="183744" y="946465"/>
                  <a:pt x="183744" y="946465"/>
                  <a:pt x="183744" y="946465"/>
                </a:cubicBezTo>
                <a:cubicBezTo>
                  <a:pt x="183744" y="937949"/>
                  <a:pt x="183744" y="937949"/>
                  <a:pt x="183744" y="937949"/>
                </a:cubicBezTo>
                <a:cubicBezTo>
                  <a:pt x="192668" y="944843"/>
                  <a:pt x="192668" y="944843"/>
                  <a:pt x="192668" y="944843"/>
                </a:cubicBezTo>
                <a:cubicBezTo>
                  <a:pt x="192668" y="766808"/>
                  <a:pt x="192668" y="766808"/>
                  <a:pt x="192668" y="766808"/>
                </a:cubicBezTo>
                <a:cubicBezTo>
                  <a:pt x="183744" y="759914"/>
                  <a:pt x="183744" y="759914"/>
                  <a:pt x="183744" y="759914"/>
                </a:cubicBezTo>
                <a:cubicBezTo>
                  <a:pt x="183744" y="751398"/>
                  <a:pt x="183744" y="751398"/>
                  <a:pt x="183744" y="751398"/>
                </a:cubicBezTo>
                <a:cubicBezTo>
                  <a:pt x="196318" y="761131"/>
                  <a:pt x="196318" y="761131"/>
                  <a:pt x="196318" y="761131"/>
                </a:cubicBezTo>
                <a:cubicBezTo>
                  <a:pt x="384119" y="618379"/>
                  <a:pt x="384119" y="618379"/>
                  <a:pt x="384119" y="618379"/>
                </a:cubicBezTo>
                <a:cubicBezTo>
                  <a:pt x="196724" y="472787"/>
                  <a:pt x="196724" y="472787"/>
                  <a:pt x="196724" y="472787"/>
                </a:cubicBezTo>
                <a:cubicBezTo>
                  <a:pt x="8924" y="615540"/>
                  <a:pt x="8924" y="615540"/>
                  <a:pt x="8924" y="615540"/>
                </a:cubicBezTo>
                <a:cubicBezTo>
                  <a:pt x="183339" y="750992"/>
                  <a:pt x="183339" y="750992"/>
                  <a:pt x="183339" y="750992"/>
                </a:cubicBezTo>
                <a:cubicBezTo>
                  <a:pt x="183339" y="759508"/>
                  <a:pt x="183339" y="759508"/>
                  <a:pt x="183339" y="759508"/>
                </a:cubicBezTo>
                <a:cubicBezTo>
                  <a:pt x="6490" y="622434"/>
                  <a:pt x="6490" y="622434"/>
                  <a:pt x="6490" y="622434"/>
                </a:cubicBezTo>
                <a:cubicBezTo>
                  <a:pt x="6490" y="800875"/>
                  <a:pt x="6490" y="800875"/>
                  <a:pt x="6490" y="800875"/>
                </a:cubicBezTo>
                <a:lnTo>
                  <a:pt x="183339" y="937544"/>
                </a:lnTo>
                <a:cubicBezTo>
                  <a:pt x="183339" y="946060"/>
                  <a:pt x="183339" y="946060"/>
                  <a:pt x="183339" y="946060"/>
                </a:cubicBezTo>
                <a:cubicBezTo>
                  <a:pt x="0" y="804119"/>
                  <a:pt x="0" y="804119"/>
                  <a:pt x="0" y="804119"/>
                </a:cubicBezTo>
                <a:cubicBezTo>
                  <a:pt x="0" y="613917"/>
                  <a:pt x="0" y="613917"/>
                  <a:pt x="0" y="613917"/>
                </a:cubicBezTo>
                <a:cubicBezTo>
                  <a:pt x="191856" y="468327"/>
                  <a:pt x="191856" y="468327"/>
                  <a:pt x="191856" y="468327"/>
                </a:cubicBezTo>
                <a:cubicBezTo>
                  <a:pt x="191856" y="289076"/>
                  <a:pt x="191856" y="289076"/>
                  <a:pt x="191856" y="289076"/>
                </a:cubicBezTo>
                <a:cubicBezTo>
                  <a:pt x="198752" y="294348"/>
                  <a:pt x="198752" y="294348"/>
                  <a:pt x="198752" y="294348"/>
                </a:cubicBezTo>
                <a:cubicBezTo>
                  <a:pt x="198752" y="465488"/>
                  <a:pt x="198752" y="465488"/>
                  <a:pt x="198752" y="465488"/>
                </a:cubicBezTo>
                <a:cubicBezTo>
                  <a:pt x="384524" y="609862"/>
                  <a:pt x="384524" y="609862"/>
                  <a:pt x="384524" y="609862"/>
                </a:cubicBezTo>
                <a:cubicBezTo>
                  <a:pt x="384524" y="431828"/>
                  <a:pt x="384524" y="431828"/>
                  <a:pt x="384524" y="431828"/>
                </a:cubicBezTo>
                <a:cubicBezTo>
                  <a:pt x="198752" y="287453"/>
                  <a:pt x="198752" y="287453"/>
                  <a:pt x="198752" y="287453"/>
                </a:cubicBezTo>
                <a:cubicBezTo>
                  <a:pt x="198752" y="293942"/>
                  <a:pt x="198752" y="293942"/>
                  <a:pt x="198752" y="293942"/>
                </a:cubicBezTo>
                <a:cubicBezTo>
                  <a:pt x="191856" y="288670"/>
                  <a:pt x="191856" y="288670"/>
                  <a:pt x="191856" y="288670"/>
                </a:cubicBezTo>
                <a:cubicBezTo>
                  <a:pt x="191856" y="278937"/>
                  <a:pt x="191856" y="278937"/>
                  <a:pt x="191856" y="278937"/>
                </a:cubicBezTo>
                <a:cubicBezTo>
                  <a:pt x="377629" y="137401"/>
                  <a:pt x="377629" y="137401"/>
                  <a:pt x="377629" y="137401"/>
                </a:cubicBezTo>
                <a:cubicBezTo>
                  <a:pt x="383308" y="141862"/>
                  <a:pt x="383308" y="141862"/>
                  <a:pt x="383308" y="141862"/>
                </a:cubicBezTo>
                <a:cubicBezTo>
                  <a:pt x="200780" y="280559"/>
                  <a:pt x="200780" y="280559"/>
                  <a:pt x="200780" y="280559"/>
                </a:cubicBezTo>
                <a:cubicBezTo>
                  <a:pt x="388175" y="425745"/>
                  <a:pt x="388175" y="425745"/>
                  <a:pt x="388175" y="425745"/>
                </a:cubicBezTo>
                <a:cubicBezTo>
                  <a:pt x="575977" y="282993"/>
                  <a:pt x="575977" y="282993"/>
                  <a:pt x="575977" y="282993"/>
                </a:cubicBezTo>
                <a:cubicBezTo>
                  <a:pt x="388580" y="137807"/>
                  <a:pt x="388580" y="137807"/>
                  <a:pt x="388580" y="137807"/>
                </a:cubicBezTo>
                <a:cubicBezTo>
                  <a:pt x="383308" y="141862"/>
                  <a:pt x="383308" y="141862"/>
                  <a:pt x="383308" y="141862"/>
                </a:cubicBezTo>
                <a:cubicBezTo>
                  <a:pt x="378035" y="137401"/>
                  <a:pt x="378035" y="137401"/>
                  <a:pt x="378035" y="137401"/>
                </a:cubicBezTo>
                <a:cubicBezTo>
                  <a:pt x="386147" y="131318"/>
                  <a:pt x="386147" y="131318"/>
                  <a:pt x="386147" y="131318"/>
                </a:cubicBezTo>
                <a:cubicBezTo>
                  <a:pt x="386147" y="59650"/>
                  <a:pt x="386147" y="21577"/>
                  <a:pt x="386147" y="1350"/>
                </a:cubicBezTo>
                <a:close/>
              </a:path>
            </a:pathLst>
          </a:custGeom>
          <a:gradFill flip="none" rotWithShape="1">
            <a:gsLst>
              <a:gs pos="7000">
                <a:schemeClr val="bg1"/>
              </a:gs>
              <a:gs pos="26000">
                <a:schemeClr val="bg1">
                  <a:alpha val="80000"/>
                </a:schemeClr>
              </a:gs>
            </a:gsLst>
            <a:lin ang="0" scaled="1"/>
            <a:tileRect/>
          </a:gradFill>
        </p:spPr>
        <p:txBody>
          <a:bodyPr wrap="square" lIns="2160000" rIns="756000" anchor="ctr">
            <a:noAutofit/>
          </a:bodyPr>
          <a:lstStyle>
            <a:lvl1pPr>
              <a:defRPr/>
            </a:lvl1pPr>
          </a:lstStyle>
          <a:p>
            <a:pPr lvl="0"/>
            <a:r>
              <a:rPr lang="fr-FR" dirty="0"/>
              <a:t>Cliquez pour modifier les styles du texte du masque  </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Titre 13">
            <a:extLst>
              <a:ext uri="{FF2B5EF4-FFF2-40B4-BE49-F238E27FC236}">
                <a16:creationId xmlns:a16="http://schemas.microsoft.com/office/drawing/2014/main" id="{B62CD770-3131-7686-5D22-0AC580D9B1B1}"/>
              </a:ext>
            </a:extLst>
          </p:cNvPr>
          <p:cNvSpPr>
            <a:spLocks noGrp="1"/>
          </p:cNvSpPr>
          <p:nvPr>
            <p:ph type="title"/>
          </p:nvPr>
        </p:nvSpPr>
        <p:spPr/>
        <p:txBody>
          <a:bodyPr/>
          <a:lstStyle>
            <a:lvl1pPr>
              <a:defRPr>
                <a:solidFill>
                  <a:schemeClr val="bg1"/>
                </a:solidFill>
              </a:defRPr>
            </a:lvl1pPr>
          </a:lstStyle>
          <a:p>
            <a:r>
              <a:rPr lang="fr-FR"/>
              <a:t>Modifiez le style du titre</a:t>
            </a:r>
            <a:endParaRPr lang="fr-FR" dirty="0"/>
          </a:p>
        </p:txBody>
      </p:sp>
      <p:sp>
        <p:nvSpPr>
          <p:cNvPr id="16"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bg1"/>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23844595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s">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C234029E-78B3-568C-831F-68645DF6BD30}"/>
              </a:ext>
            </a:extLst>
          </p:cNvPr>
          <p:cNvSpPr>
            <a:spLocks noGrp="1"/>
          </p:cNvSpPr>
          <p:nvPr>
            <p:ph type="dt" sz="half" idx="10"/>
          </p:nvPr>
        </p:nvSpPr>
        <p:spPr/>
        <p:txBody>
          <a:bodyPr/>
          <a:lstStyle/>
          <a:p>
            <a:r>
              <a:rPr lang="fr-FR"/>
              <a:t>28/10/2022</a:t>
            </a:r>
          </a:p>
        </p:txBody>
      </p:sp>
      <p:sp>
        <p:nvSpPr>
          <p:cNvPr id="4" name="Espace réservé du pied de page 3">
            <a:extLst>
              <a:ext uri="{FF2B5EF4-FFF2-40B4-BE49-F238E27FC236}">
                <a16:creationId xmlns:a16="http://schemas.microsoft.com/office/drawing/2014/main" id="{92E4E404-6902-1F6E-82F5-8793054624DE}"/>
              </a:ext>
            </a:extLst>
          </p:cNvPr>
          <p:cNvSpPr>
            <a:spLocks noGrp="1"/>
          </p:cNvSpPr>
          <p:nvPr>
            <p:ph type="ftr" sz="quarter" idx="11"/>
          </p:nvPr>
        </p:nvSpPr>
        <p:spPr/>
        <p:txBody>
          <a:bodyPr/>
          <a:lstStyle/>
          <a:p>
            <a:r>
              <a:rPr lang="fr-FR"/>
              <a:t>Exemple de pied de page (A modifier dans l'onglet "Insertion"/"En-tête/Pied"</a:t>
            </a:r>
          </a:p>
        </p:txBody>
      </p:sp>
      <p:sp>
        <p:nvSpPr>
          <p:cNvPr id="5" name="Espace réservé du numéro de diapositive 4">
            <a:extLst>
              <a:ext uri="{FF2B5EF4-FFF2-40B4-BE49-F238E27FC236}">
                <a16:creationId xmlns:a16="http://schemas.microsoft.com/office/drawing/2014/main" id="{D3998557-AF65-5C65-FBD8-13E2BC977D78}"/>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6" name="ZoneTexte 5">
            <a:extLst>
              <a:ext uri="{FF2B5EF4-FFF2-40B4-BE49-F238E27FC236}">
                <a16:creationId xmlns:a16="http://schemas.microsoft.com/office/drawing/2014/main" id="{1FD8FB8A-BB4D-ADF0-708B-34954439AF19}"/>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Process</a:t>
            </a:r>
          </a:p>
        </p:txBody>
      </p:sp>
      <p:sp>
        <p:nvSpPr>
          <p:cNvPr id="12" name="Espace réservé du texte 11">
            <a:extLst>
              <a:ext uri="{FF2B5EF4-FFF2-40B4-BE49-F238E27FC236}">
                <a16:creationId xmlns:a16="http://schemas.microsoft.com/office/drawing/2014/main" id="{D8A6D559-B5F2-C10A-5216-55551821C047}"/>
              </a:ext>
            </a:extLst>
          </p:cNvPr>
          <p:cNvSpPr>
            <a:spLocks noGrp="1" noChangeAspect="1"/>
          </p:cNvSpPr>
          <p:nvPr>
            <p:ph type="body" sz="quarter" idx="13" hasCustomPrompt="1"/>
          </p:nvPr>
        </p:nvSpPr>
        <p:spPr>
          <a:xfrm>
            <a:off x="681780" y="1400176"/>
            <a:ext cx="1057274" cy="1057275"/>
          </a:xfrm>
          <a:solidFill>
            <a:srgbClr val="000000"/>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15" name="Espace réservé du texte 14">
            <a:extLst>
              <a:ext uri="{FF2B5EF4-FFF2-40B4-BE49-F238E27FC236}">
                <a16:creationId xmlns:a16="http://schemas.microsoft.com/office/drawing/2014/main" id="{7A89DC66-E329-2BA7-093B-F605D23EBEA2}"/>
              </a:ext>
            </a:extLst>
          </p:cNvPr>
          <p:cNvSpPr>
            <a:spLocks noGrp="1"/>
          </p:cNvSpPr>
          <p:nvPr>
            <p:ph type="body" sz="quarter" idx="14" hasCustomPrompt="1"/>
          </p:nvPr>
        </p:nvSpPr>
        <p:spPr>
          <a:xfrm>
            <a:off x="467916" y="2645568"/>
            <a:ext cx="1485000" cy="1789510"/>
          </a:xfrm>
        </p:spPr>
        <p:txBody>
          <a:bodyPr lIns="0" rIns="0"/>
          <a:lstStyle>
            <a:lvl1pPr algn="ctr">
              <a:defRPr/>
            </a:lvl1pPr>
            <a:lvl2pPr algn="l">
              <a:defRPr/>
            </a:lvl2pPr>
            <a:lvl3pPr algn="l">
              <a:defRPr/>
            </a:lvl3pPr>
            <a:lvl4pPr algn="l">
              <a:defRPr/>
            </a:lvl4pPr>
            <a:lvl5pPr algn="l">
              <a:defRPr/>
            </a:lvl5pPr>
          </a:lstStyle>
          <a:p>
            <a:pPr lvl="0"/>
            <a:r>
              <a:rPr lang="fr-FR" dirty="0"/>
              <a:t>Modifier les styles du texte du masque</a:t>
            </a:r>
          </a:p>
        </p:txBody>
      </p:sp>
      <p:sp>
        <p:nvSpPr>
          <p:cNvPr id="22" name="Espace réservé du texte 11">
            <a:extLst>
              <a:ext uri="{FF2B5EF4-FFF2-40B4-BE49-F238E27FC236}">
                <a16:creationId xmlns:a16="http://schemas.microsoft.com/office/drawing/2014/main" id="{6EBAB840-A288-E4AE-DD2B-ABD52849168F}"/>
              </a:ext>
            </a:extLst>
          </p:cNvPr>
          <p:cNvSpPr>
            <a:spLocks noGrp="1" noChangeAspect="1"/>
          </p:cNvSpPr>
          <p:nvPr>
            <p:ph type="body" sz="quarter" idx="15" hasCustomPrompt="1"/>
          </p:nvPr>
        </p:nvSpPr>
        <p:spPr>
          <a:xfrm>
            <a:off x="2342332" y="1400176"/>
            <a:ext cx="1057274" cy="1057275"/>
          </a:xfrm>
          <a:solidFill>
            <a:schemeClr val="tx2"/>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23" name="Espace réservé du texte 14">
            <a:extLst>
              <a:ext uri="{FF2B5EF4-FFF2-40B4-BE49-F238E27FC236}">
                <a16:creationId xmlns:a16="http://schemas.microsoft.com/office/drawing/2014/main" id="{3E9C6ABE-0C15-ECEA-4B26-53769D8EAC57}"/>
              </a:ext>
            </a:extLst>
          </p:cNvPr>
          <p:cNvSpPr>
            <a:spLocks noGrp="1"/>
          </p:cNvSpPr>
          <p:nvPr>
            <p:ph type="body" sz="quarter" idx="16" hasCustomPrompt="1"/>
          </p:nvPr>
        </p:nvSpPr>
        <p:spPr>
          <a:xfrm>
            <a:off x="2128468" y="2645568"/>
            <a:ext cx="1485000" cy="1789510"/>
          </a:xfrm>
        </p:spPr>
        <p:txBody>
          <a:bodyPr lIns="0" rIns="0"/>
          <a:lstStyle>
            <a:lvl1pPr algn="ctr">
              <a:defRPr/>
            </a:lvl1pPr>
            <a:lvl2pPr algn="l">
              <a:defRPr/>
            </a:lvl2pPr>
            <a:lvl3pPr algn="l">
              <a:defRPr/>
            </a:lvl3pPr>
            <a:lvl4pPr algn="l">
              <a:defRPr/>
            </a:lvl4pPr>
            <a:lvl5pPr algn="l">
              <a:defRPr/>
            </a:lvl5pPr>
          </a:lstStyle>
          <a:p>
            <a:pPr lvl="0"/>
            <a:r>
              <a:rPr lang="fr-FR" dirty="0"/>
              <a:t>Modifier les styles du texte du masque</a:t>
            </a:r>
          </a:p>
        </p:txBody>
      </p:sp>
      <p:sp>
        <p:nvSpPr>
          <p:cNvPr id="24" name="Espace réservé du texte 11">
            <a:extLst>
              <a:ext uri="{FF2B5EF4-FFF2-40B4-BE49-F238E27FC236}">
                <a16:creationId xmlns:a16="http://schemas.microsoft.com/office/drawing/2014/main" id="{24B29917-CE4F-A965-FAA6-E3B453333B7E}"/>
              </a:ext>
            </a:extLst>
          </p:cNvPr>
          <p:cNvSpPr>
            <a:spLocks noGrp="1" noChangeAspect="1"/>
          </p:cNvSpPr>
          <p:nvPr>
            <p:ph type="body" sz="quarter" idx="17" hasCustomPrompt="1"/>
          </p:nvPr>
        </p:nvSpPr>
        <p:spPr>
          <a:xfrm>
            <a:off x="4002883" y="1400176"/>
            <a:ext cx="1057274" cy="1057275"/>
          </a:xfrm>
          <a:solidFill>
            <a:schemeClr val="tx2"/>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25" name="Espace réservé du texte 14">
            <a:extLst>
              <a:ext uri="{FF2B5EF4-FFF2-40B4-BE49-F238E27FC236}">
                <a16:creationId xmlns:a16="http://schemas.microsoft.com/office/drawing/2014/main" id="{6F1352A1-512B-F388-3483-16D51BDD2D42}"/>
              </a:ext>
            </a:extLst>
          </p:cNvPr>
          <p:cNvSpPr>
            <a:spLocks noGrp="1"/>
          </p:cNvSpPr>
          <p:nvPr>
            <p:ph type="body" sz="quarter" idx="18" hasCustomPrompt="1"/>
          </p:nvPr>
        </p:nvSpPr>
        <p:spPr>
          <a:xfrm>
            <a:off x="3789020" y="2645568"/>
            <a:ext cx="1485000" cy="1789510"/>
          </a:xfrm>
        </p:spPr>
        <p:txBody>
          <a:bodyPr lIns="0" rIns="0"/>
          <a:lstStyle>
            <a:lvl1pPr algn="ctr">
              <a:defRPr/>
            </a:lvl1pPr>
            <a:lvl2pPr algn="l">
              <a:defRPr/>
            </a:lvl2pPr>
            <a:lvl3pPr algn="l">
              <a:defRPr/>
            </a:lvl3pPr>
            <a:lvl4pPr algn="l">
              <a:defRPr/>
            </a:lvl4pPr>
            <a:lvl5pPr algn="l">
              <a:defRPr/>
            </a:lvl5pPr>
          </a:lstStyle>
          <a:p>
            <a:pPr lvl="0"/>
            <a:r>
              <a:rPr lang="fr-FR"/>
              <a:t>Modifier les styles du texte du masque</a:t>
            </a:r>
          </a:p>
        </p:txBody>
      </p:sp>
      <p:sp>
        <p:nvSpPr>
          <p:cNvPr id="26" name="Espace réservé du texte 11">
            <a:extLst>
              <a:ext uri="{FF2B5EF4-FFF2-40B4-BE49-F238E27FC236}">
                <a16:creationId xmlns:a16="http://schemas.microsoft.com/office/drawing/2014/main" id="{C4BAD260-C56B-B79F-C093-46D3C16BCC87}"/>
              </a:ext>
            </a:extLst>
          </p:cNvPr>
          <p:cNvSpPr>
            <a:spLocks noGrp="1" noChangeAspect="1"/>
          </p:cNvSpPr>
          <p:nvPr>
            <p:ph type="body" sz="quarter" idx="19" hasCustomPrompt="1"/>
          </p:nvPr>
        </p:nvSpPr>
        <p:spPr>
          <a:xfrm>
            <a:off x="5663435" y="1400176"/>
            <a:ext cx="1057274" cy="1057275"/>
          </a:xfrm>
          <a:solidFill>
            <a:schemeClr val="tx2"/>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27" name="Espace réservé du texte 14">
            <a:extLst>
              <a:ext uri="{FF2B5EF4-FFF2-40B4-BE49-F238E27FC236}">
                <a16:creationId xmlns:a16="http://schemas.microsoft.com/office/drawing/2014/main" id="{E3294DD8-C0C7-7FF7-2AF0-2A6B1C786177}"/>
              </a:ext>
            </a:extLst>
          </p:cNvPr>
          <p:cNvSpPr>
            <a:spLocks noGrp="1"/>
          </p:cNvSpPr>
          <p:nvPr>
            <p:ph type="body" sz="quarter" idx="20" hasCustomPrompt="1"/>
          </p:nvPr>
        </p:nvSpPr>
        <p:spPr>
          <a:xfrm>
            <a:off x="5449571" y="2645568"/>
            <a:ext cx="1485000" cy="1789510"/>
          </a:xfrm>
        </p:spPr>
        <p:txBody>
          <a:bodyPr lIns="0" rIns="0"/>
          <a:lstStyle>
            <a:lvl1pPr algn="ctr">
              <a:defRPr/>
            </a:lvl1pPr>
            <a:lvl2pPr algn="l">
              <a:defRPr/>
            </a:lvl2pPr>
            <a:lvl3pPr algn="l">
              <a:defRPr/>
            </a:lvl3pPr>
            <a:lvl4pPr algn="l">
              <a:defRPr/>
            </a:lvl4pPr>
            <a:lvl5pPr algn="l">
              <a:defRPr/>
            </a:lvl5pPr>
          </a:lstStyle>
          <a:p>
            <a:pPr lvl="0"/>
            <a:r>
              <a:rPr lang="fr-FR"/>
              <a:t>Modifier les styles du texte du masque</a:t>
            </a:r>
          </a:p>
        </p:txBody>
      </p:sp>
      <p:sp>
        <p:nvSpPr>
          <p:cNvPr id="28" name="Espace réservé du texte 11">
            <a:extLst>
              <a:ext uri="{FF2B5EF4-FFF2-40B4-BE49-F238E27FC236}">
                <a16:creationId xmlns:a16="http://schemas.microsoft.com/office/drawing/2014/main" id="{043259EC-B8D8-255D-A2B2-B6984873CA66}"/>
              </a:ext>
            </a:extLst>
          </p:cNvPr>
          <p:cNvSpPr>
            <a:spLocks noGrp="1" noChangeAspect="1"/>
          </p:cNvSpPr>
          <p:nvPr>
            <p:ph type="body" sz="quarter" idx="21" hasCustomPrompt="1"/>
          </p:nvPr>
        </p:nvSpPr>
        <p:spPr>
          <a:xfrm>
            <a:off x="7323986" y="1400176"/>
            <a:ext cx="1057274" cy="1057275"/>
          </a:xfrm>
          <a:solidFill>
            <a:schemeClr val="tx2"/>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29" name="Espace réservé du texte 14">
            <a:extLst>
              <a:ext uri="{FF2B5EF4-FFF2-40B4-BE49-F238E27FC236}">
                <a16:creationId xmlns:a16="http://schemas.microsoft.com/office/drawing/2014/main" id="{24D806FB-89F5-15B1-42D4-FB45DB6CC61B}"/>
              </a:ext>
            </a:extLst>
          </p:cNvPr>
          <p:cNvSpPr>
            <a:spLocks noGrp="1"/>
          </p:cNvSpPr>
          <p:nvPr>
            <p:ph type="body" sz="quarter" idx="22" hasCustomPrompt="1"/>
          </p:nvPr>
        </p:nvSpPr>
        <p:spPr>
          <a:xfrm>
            <a:off x="7110122" y="2645568"/>
            <a:ext cx="1485000" cy="1789510"/>
          </a:xfrm>
        </p:spPr>
        <p:txBody>
          <a:bodyPr lIns="0" rIns="0"/>
          <a:lstStyle>
            <a:lvl1pPr algn="ctr">
              <a:defRPr/>
            </a:lvl1pPr>
            <a:lvl2pPr algn="l">
              <a:defRPr/>
            </a:lvl2pPr>
            <a:lvl3pPr algn="l">
              <a:defRPr/>
            </a:lvl3pPr>
            <a:lvl4pPr algn="l">
              <a:defRPr/>
            </a:lvl4pPr>
            <a:lvl5pPr algn="l">
              <a:defRPr/>
            </a:lvl5pPr>
          </a:lstStyle>
          <a:p>
            <a:pPr lvl="0"/>
            <a:r>
              <a:rPr lang="fr-FR"/>
              <a:t>Modifier les styles du texte du masque</a:t>
            </a:r>
          </a:p>
        </p:txBody>
      </p:sp>
      <p:sp>
        <p:nvSpPr>
          <p:cNvPr id="30" name="ZoneTexte 29">
            <a:extLst>
              <a:ext uri="{FF2B5EF4-FFF2-40B4-BE49-F238E27FC236}">
                <a16:creationId xmlns:a16="http://schemas.microsoft.com/office/drawing/2014/main" id="{58DC98BA-7572-A388-C6B4-862306EE47DA}"/>
              </a:ext>
            </a:extLst>
          </p:cNvPr>
          <p:cNvSpPr txBox="1"/>
          <p:nvPr userDrawn="1"/>
        </p:nvSpPr>
        <p:spPr>
          <a:xfrm>
            <a:off x="-76200" y="5143501"/>
            <a:ext cx="9144000" cy="507831"/>
          </a:xfrm>
          <a:prstGeom prst="rect">
            <a:avLst/>
          </a:prstGeom>
          <a:noFill/>
        </p:spPr>
        <p:txBody>
          <a:bodyPr wrap="square" rtlCol="0">
            <a:spAutoFit/>
          </a:bodyPr>
          <a:lstStyle/>
          <a:p>
            <a:r>
              <a:rPr lang="fr-FR" sz="900" dirty="0">
                <a:solidFill>
                  <a:schemeClr val="bg1">
                    <a:lumMod val="50000"/>
                  </a:schemeClr>
                </a:solidFill>
              </a:rPr>
              <a:t>Astuce : 2 niveaux de textes sont utilisés dans le carré de couleur, le 2</a:t>
            </a:r>
            <a:r>
              <a:rPr lang="fr-FR" sz="900" baseline="30000" dirty="0">
                <a:solidFill>
                  <a:schemeClr val="bg1">
                    <a:lumMod val="50000"/>
                  </a:schemeClr>
                </a:solidFill>
              </a:rPr>
              <a:t>ème</a:t>
            </a:r>
            <a:r>
              <a:rPr lang="fr-FR" sz="900" dirty="0">
                <a:solidFill>
                  <a:schemeClr val="bg1">
                    <a:lumMod val="50000"/>
                  </a:schemeClr>
                </a:solidFill>
              </a:rPr>
              <a:t> niveau est réservé au chiffre</a:t>
            </a:r>
          </a:p>
          <a:p>
            <a:r>
              <a:rPr lang="fr-FR" sz="900" dirty="0">
                <a:solidFill>
                  <a:schemeClr val="bg1">
                    <a:lumMod val="50000"/>
                  </a:schemeClr>
                </a:solidFill>
              </a:rPr>
              <a:t>Astuce : A tout moment vous pouvez changer la couleur de 1 ou plusieurs carré(s) : « Format de la forme » / « Remplissage »</a:t>
            </a:r>
          </a:p>
          <a:p>
            <a:pPr marL="0" marR="0" lvl="0" indent="0" algn="l" defTabSz="685800" rtl="0" eaLnBrk="1" fontAlgn="auto" latinLnBrk="0" hangingPunct="1">
              <a:lnSpc>
                <a:spcPct val="100000"/>
              </a:lnSpc>
              <a:spcBef>
                <a:spcPts val="0"/>
              </a:spcBef>
              <a:spcAft>
                <a:spcPts val="0"/>
              </a:spcAft>
              <a:buClrTx/>
              <a:buSzTx/>
              <a:buFontTx/>
              <a:buNone/>
              <a:tabLst/>
              <a:defRPr/>
            </a:pPr>
            <a:r>
              <a:rPr lang="fr-FR" sz="900" dirty="0">
                <a:solidFill>
                  <a:schemeClr val="bg1">
                    <a:lumMod val="50000"/>
                  </a:schemeClr>
                </a:solidFill>
              </a:rPr>
              <a:t>Astuce : A tout moment vous pouvez supprimer ou dupliquer une des étapes</a:t>
            </a:r>
          </a:p>
        </p:txBody>
      </p:sp>
      <p:pic>
        <p:nvPicPr>
          <p:cNvPr id="1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0501BFA8-B9A9-BC60-9090-AC04B424FC41}"/>
              </a:ext>
            </a:extLst>
          </p:cNvPr>
          <p:cNvSpPr>
            <a:spLocks noGrp="1"/>
          </p:cNvSpPr>
          <p:nvPr>
            <p:ph type="title"/>
          </p:nvPr>
        </p:nvSpPr>
        <p:spPr/>
        <p:txBody>
          <a:bodyPr/>
          <a:lstStyle>
            <a:lvl1pPr>
              <a:defRPr>
                <a:solidFill>
                  <a:schemeClr val="tx1"/>
                </a:solidFill>
              </a:defRPr>
            </a:lvl1pPr>
          </a:lstStyle>
          <a:p>
            <a:r>
              <a:rPr lang="fr-FR"/>
              <a:t>Modifiez le style du titre</a:t>
            </a:r>
          </a:p>
        </p:txBody>
      </p:sp>
    </p:spTree>
    <p:extLst>
      <p:ext uri="{BB962C8B-B14F-4D97-AF65-F5344CB8AC3E}">
        <p14:creationId xmlns:p14="http://schemas.microsoft.com/office/powerpoint/2010/main" val="21198698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2">
    <p:spTree>
      <p:nvGrpSpPr>
        <p:cNvPr id="1" name=""/>
        <p:cNvGrpSpPr/>
        <p:nvPr/>
      </p:nvGrpSpPr>
      <p:grpSpPr>
        <a:xfrm>
          <a:off x="0" y="0"/>
          <a:ext cx="0" cy="0"/>
          <a:chOff x="0" y="0"/>
          <a:chExt cx="0" cy="0"/>
        </a:xfrm>
      </p:grpSpPr>
      <p:sp>
        <p:nvSpPr>
          <p:cNvPr id="3" name="Espace réservé de la date 2">
            <a:extLst>
              <a:ext uri="{FF2B5EF4-FFF2-40B4-BE49-F238E27FC236}">
                <a16:creationId xmlns:a16="http://schemas.microsoft.com/office/drawing/2014/main" id="{C234029E-78B3-568C-831F-68645DF6BD30}"/>
              </a:ext>
            </a:extLst>
          </p:cNvPr>
          <p:cNvSpPr>
            <a:spLocks noGrp="1"/>
          </p:cNvSpPr>
          <p:nvPr>
            <p:ph type="dt" sz="half" idx="10"/>
          </p:nvPr>
        </p:nvSpPr>
        <p:spPr/>
        <p:txBody>
          <a:bodyPr/>
          <a:lstStyle/>
          <a:p>
            <a:r>
              <a:rPr lang="fr-FR"/>
              <a:t>28/10/2022</a:t>
            </a:r>
          </a:p>
        </p:txBody>
      </p:sp>
      <p:sp>
        <p:nvSpPr>
          <p:cNvPr id="4" name="Espace réservé du pied de page 3">
            <a:extLst>
              <a:ext uri="{FF2B5EF4-FFF2-40B4-BE49-F238E27FC236}">
                <a16:creationId xmlns:a16="http://schemas.microsoft.com/office/drawing/2014/main" id="{92E4E404-6902-1F6E-82F5-8793054624DE}"/>
              </a:ext>
            </a:extLst>
          </p:cNvPr>
          <p:cNvSpPr>
            <a:spLocks noGrp="1"/>
          </p:cNvSpPr>
          <p:nvPr>
            <p:ph type="ftr" sz="quarter" idx="11"/>
          </p:nvPr>
        </p:nvSpPr>
        <p:spPr/>
        <p:txBody>
          <a:bodyPr/>
          <a:lstStyle/>
          <a:p>
            <a:r>
              <a:rPr lang="fr-FR"/>
              <a:t>Exemple de pied de page (A modifier dans l'onglet "Insertion"/"En-tête/Pied"</a:t>
            </a:r>
          </a:p>
        </p:txBody>
      </p:sp>
      <p:sp>
        <p:nvSpPr>
          <p:cNvPr id="5" name="Espace réservé du numéro de diapositive 4">
            <a:extLst>
              <a:ext uri="{FF2B5EF4-FFF2-40B4-BE49-F238E27FC236}">
                <a16:creationId xmlns:a16="http://schemas.microsoft.com/office/drawing/2014/main" id="{D3998557-AF65-5C65-FBD8-13E2BC977D78}"/>
              </a:ext>
            </a:extLst>
          </p:cNvPr>
          <p:cNvSpPr>
            <a:spLocks noGrp="1"/>
          </p:cNvSpPr>
          <p:nvPr>
            <p:ph type="sldNum" sz="quarter" idx="12"/>
          </p:nvPr>
        </p:nvSpPr>
        <p:spPr/>
        <p:txBody>
          <a:bodyPr/>
          <a:lstStyle/>
          <a:p>
            <a:fld id="{0CBC77A0-1F4E-42FF-9FFC-F45C3A64AF90}" type="slidenum">
              <a:rPr lang="fr-FR" smtClean="0"/>
              <a:t>‹Nr.›</a:t>
            </a:fld>
            <a:endParaRPr lang="fr-FR"/>
          </a:p>
        </p:txBody>
      </p:sp>
      <p:sp>
        <p:nvSpPr>
          <p:cNvPr id="6" name="ZoneTexte 5">
            <a:extLst>
              <a:ext uri="{FF2B5EF4-FFF2-40B4-BE49-F238E27FC236}">
                <a16:creationId xmlns:a16="http://schemas.microsoft.com/office/drawing/2014/main" id="{1FD8FB8A-BB4D-ADF0-708B-34954439AF19}"/>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Process 2</a:t>
            </a:r>
          </a:p>
          <a:p>
            <a:endParaRPr lang="fr-FR" sz="900" dirty="0">
              <a:solidFill>
                <a:schemeClr val="bg1">
                  <a:lumMod val="50000"/>
                </a:schemeClr>
              </a:solidFill>
            </a:endParaRPr>
          </a:p>
        </p:txBody>
      </p:sp>
      <p:sp>
        <p:nvSpPr>
          <p:cNvPr id="9" name="Espace réservé du texte 8">
            <a:extLst>
              <a:ext uri="{FF2B5EF4-FFF2-40B4-BE49-F238E27FC236}">
                <a16:creationId xmlns:a16="http://schemas.microsoft.com/office/drawing/2014/main" id="{80E4F447-1473-CEC3-0C4B-859E1566BDE9}"/>
              </a:ext>
            </a:extLst>
          </p:cNvPr>
          <p:cNvSpPr>
            <a:spLocks noGrp="1" noChangeAspect="1"/>
          </p:cNvSpPr>
          <p:nvPr>
            <p:ph type="body" sz="quarter" idx="13" hasCustomPrompt="1"/>
          </p:nvPr>
        </p:nvSpPr>
        <p:spPr>
          <a:xfrm>
            <a:off x="548878" y="1187617"/>
            <a:ext cx="1620000" cy="1238549"/>
          </a:xfrm>
          <a:custGeom>
            <a:avLst/>
            <a:gdLst>
              <a:gd name="connsiteX0" fmla="*/ 0 w 1843864"/>
              <a:gd name="connsiteY0" fmla="*/ 0 h 1409700"/>
              <a:gd name="connsiteX1" fmla="*/ 1409699 w 1843864"/>
              <a:gd name="connsiteY1" fmla="*/ 0 h 1409700"/>
              <a:gd name="connsiteX2" fmla="*/ 1409699 w 1843864"/>
              <a:gd name="connsiteY2" fmla="*/ 471941 h 1409700"/>
              <a:gd name="connsiteX3" fmla="*/ 1535357 w 1843864"/>
              <a:gd name="connsiteY3" fmla="*/ 471941 h 1409700"/>
              <a:gd name="connsiteX4" fmla="*/ 1535357 w 1843864"/>
              <a:gd name="connsiteY4" fmla="*/ 239032 h 1409700"/>
              <a:gd name="connsiteX5" fmla="*/ 1843864 w 1843864"/>
              <a:gd name="connsiteY5" fmla="*/ 704851 h 1409700"/>
              <a:gd name="connsiteX6" fmla="*/ 1535357 w 1843864"/>
              <a:gd name="connsiteY6" fmla="*/ 1170669 h 1409700"/>
              <a:gd name="connsiteX7" fmla="*/ 1535357 w 1843864"/>
              <a:gd name="connsiteY7" fmla="*/ 937760 h 1409700"/>
              <a:gd name="connsiteX8" fmla="*/ 1409699 w 1843864"/>
              <a:gd name="connsiteY8" fmla="*/ 937760 h 1409700"/>
              <a:gd name="connsiteX9" fmla="*/ 1409699 w 1843864"/>
              <a:gd name="connsiteY9" fmla="*/ 1409700 h 1409700"/>
              <a:gd name="connsiteX10" fmla="*/ 0 w 1843864"/>
              <a:gd name="connsiteY10" fmla="*/ 140970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3864" h="1409700">
                <a:moveTo>
                  <a:pt x="0" y="0"/>
                </a:moveTo>
                <a:lnTo>
                  <a:pt x="1409699" y="0"/>
                </a:lnTo>
                <a:lnTo>
                  <a:pt x="1409699" y="471941"/>
                </a:lnTo>
                <a:lnTo>
                  <a:pt x="1535357" y="471941"/>
                </a:lnTo>
                <a:lnTo>
                  <a:pt x="1535357" y="239032"/>
                </a:lnTo>
                <a:lnTo>
                  <a:pt x="1843864" y="704851"/>
                </a:lnTo>
                <a:lnTo>
                  <a:pt x="1535357" y="1170669"/>
                </a:lnTo>
                <a:lnTo>
                  <a:pt x="1535357" y="937760"/>
                </a:lnTo>
                <a:lnTo>
                  <a:pt x="1409699" y="937760"/>
                </a:lnTo>
                <a:lnTo>
                  <a:pt x="1409699" y="1409700"/>
                </a:lnTo>
                <a:lnTo>
                  <a:pt x="0" y="1409700"/>
                </a:lnTo>
                <a:close/>
              </a:path>
            </a:pathLst>
          </a:custGeom>
          <a:solidFill>
            <a:schemeClr val="tx1"/>
          </a:solidFill>
        </p:spPr>
        <p:txBody>
          <a:bodyPr wrap="square" lIns="36000" tIns="36000" rIns="468000" bIns="36000" anchor="ctr">
            <a:no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30" name="ZoneTexte 29">
            <a:extLst>
              <a:ext uri="{FF2B5EF4-FFF2-40B4-BE49-F238E27FC236}">
                <a16:creationId xmlns:a16="http://schemas.microsoft.com/office/drawing/2014/main" id="{58DC98BA-7572-A388-C6B4-862306EE47DA}"/>
              </a:ext>
            </a:extLst>
          </p:cNvPr>
          <p:cNvSpPr txBox="1"/>
          <p:nvPr userDrawn="1"/>
        </p:nvSpPr>
        <p:spPr>
          <a:xfrm>
            <a:off x="-76200" y="5143501"/>
            <a:ext cx="9144000" cy="507831"/>
          </a:xfrm>
          <a:prstGeom prst="rect">
            <a:avLst/>
          </a:prstGeom>
          <a:noFill/>
        </p:spPr>
        <p:txBody>
          <a:bodyPr wrap="square" rtlCol="0">
            <a:spAutoFit/>
          </a:bodyPr>
          <a:lstStyle/>
          <a:p>
            <a:r>
              <a:rPr lang="fr-FR" sz="900" dirty="0">
                <a:solidFill>
                  <a:schemeClr val="bg1">
                    <a:lumMod val="50000"/>
                  </a:schemeClr>
                </a:solidFill>
              </a:rPr>
              <a:t>Astuce : 2 niveaux de textes sont utilisés dans le carré de couleur, le 2</a:t>
            </a:r>
            <a:r>
              <a:rPr lang="fr-FR" sz="900" baseline="30000" dirty="0">
                <a:solidFill>
                  <a:schemeClr val="bg1">
                    <a:lumMod val="50000"/>
                  </a:schemeClr>
                </a:solidFill>
              </a:rPr>
              <a:t>ème</a:t>
            </a:r>
            <a:r>
              <a:rPr lang="fr-FR" sz="900" dirty="0">
                <a:solidFill>
                  <a:schemeClr val="bg1">
                    <a:lumMod val="50000"/>
                  </a:schemeClr>
                </a:solidFill>
              </a:rPr>
              <a:t> niveau est réservé au chiffre</a:t>
            </a:r>
          </a:p>
          <a:p>
            <a:r>
              <a:rPr lang="fr-FR" sz="900" dirty="0">
                <a:solidFill>
                  <a:schemeClr val="bg1">
                    <a:lumMod val="50000"/>
                  </a:schemeClr>
                </a:solidFill>
              </a:rPr>
              <a:t>Astuce : A tout moment vous pouvez changer la couleur de 1 ou plusieurs carré(s) : « Format de la forme » / « Remplissage »</a:t>
            </a:r>
          </a:p>
          <a:p>
            <a:pPr marL="0" marR="0" lvl="0" indent="0" algn="l" defTabSz="685800" rtl="0" eaLnBrk="1" fontAlgn="auto" latinLnBrk="0" hangingPunct="1">
              <a:lnSpc>
                <a:spcPct val="100000"/>
              </a:lnSpc>
              <a:spcBef>
                <a:spcPts val="0"/>
              </a:spcBef>
              <a:spcAft>
                <a:spcPts val="0"/>
              </a:spcAft>
              <a:buClrTx/>
              <a:buSzTx/>
              <a:buFontTx/>
              <a:buNone/>
              <a:tabLst/>
              <a:defRPr/>
            </a:pPr>
            <a:r>
              <a:rPr lang="fr-FR" sz="900" dirty="0">
                <a:solidFill>
                  <a:schemeClr val="bg1">
                    <a:lumMod val="50000"/>
                  </a:schemeClr>
                </a:solidFill>
              </a:rPr>
              <a:t>Astuce : A tout moment vous pouvez supprimer ou dupliquer une des étapes</a:t>
            </a:r>
          </a:p>
        </p:txBody>
      </p:sp>
      <p:sp>
        <p:nvSpPr>
          <p:cNvPr id="20" name="Espace réservé du texte 14">
            <a:extLst>
              <a:ext uri="{FF2B5EF4-FFF2-40B4-BE49-F238E27FC236}">
                <a16:creationId xmlns:a16="http://schemas.microsoft.com/office/drawing/2014/main" id="{7F676C8B-EE69-3CAC-C9F6-BFDEFD05279B}"/>
              </a:ext>
            </a:extLst>
          </p:cNvPr>
          <p:cNvSpPr>
            <a:spLocks noGrp="1"/>
          </p:cNvSpPr>
          <p:nvPr>
            <p:ph type="body" sz="quarter" idx="14"/>
          </p:nvPr>
        </p:nvSpPr>
        <p:spPr>
          <a:xfrm>
            <a:off x="505166" y="2645568"/>
            <a:ext cx="1485000" cy="1789510"/>
          </a:xfrm>
        </p:spPr>
        <p:txBody>
          <a:bodyPr/>
          <a:lstStyle>
            <a:lvl1pPr algn="l">
              <a:defRPr/>
            </a:lvl1pPr>
            <a:lvl2pPr algn="l">
              <a:defRPr/>
            </a:lvl2pPr>
            <a:lvl3pPr algn="l">
              <a:defRPr/>
            </a:lvl3pPr>
            <a:lvl4pPr algn="l">
              <a:defRPr/>
            </a:lvl4pPr>
            <a:lvl5pPr algn="l">
              <a:defRPr/>
            </a:lvl5pPr>
          </a:lstStyle>
          <a:p>
            <a:pPr lvl="0"/>
            <a:r>
              <a:rPr lang="fr-FR"/>
              <a:t>Modifier les styles du texte du masque</a:t>
            </a:r>
          </a:p>
        </p:txBody>
      </p:sp>
      <p:sp>
        <p:nvSpPr>
          <p:cNvPr id="21" name="Espace réservé du texte 14">
            <a:extLst>
              <a:ext uri="{FF2B5EF4-FFF2-40B4-BE49-F238E27FC236}">
                <a16:creationId xmlns:a16="http://schemas.microsoft.com/office/drawing/2014/main" id="{89215B80-BD0F-D77B-4046-84DBB6530C88}"/>
              </a:ext>
            </a:extLst>
          </p:cNvPr>
          <p:cNvSpPr>
            <a:spLocks noGrp="1"/>
          </p:cNvSpPr>
          <p:nvPr>
            <p:ph type="body" sz="quarter" idx="16"/>
          </p:nvPr>
        </p:nvSpPr>
        <p:spPr>
          <a:xfrm>
            <a:off x="2138024" y="2645568"/>
            <a:ext cx="1485000" cy="1789510"/>
          </a:xfrm>
        </p:spPr>
        <p:txBody>
          <a:bodyPr/>
          <a:lstStyle>
            <a:lvl1pPr algn="l">
              <a:defRPr/>
            </a:lvl1pPr>
            <a:lvl2pPr algn="l">
              <a:defRPr/>
            </a:lvl2pPr>
            <a:lvl3pPr algn="l">
              <a:defRPr/>
            </a:lvl3pPr>
            <a:lvl4pPr algn="l">
              <a:defRPr/>
            </a:lvl4pPr>
            <a:lvl5pPr algn="l">
              <a:defRPr/>
            </a:lvl5pPr>
          </a:lstStyle>
          <a:p>
            <a:pPr lvl="0"/>
            <a:r>
              <a:rPr lang="fr-FR"/>
              <a:t>Modifier les styles du texte du masque</a:t>
            </a:r>
          </a:p>
        </p:txBody>
      </p:sp>
      <p:sp>
        <p:nvSpPr>
          <p:cNvPr id="31" name="Espace réservé du texte 14">
            <a:extLst>
              <a:ext uri="{FF2B5EF4-FFF2-40B4-BE49-F238E27FC236}">
                <a16:creationId xmlns:a16="http://schemas.microsoft.com/office/drawing/2014/main" id="{50E15DEA-ADB9-4EAD-9B8B-400BF2AF4FDA}"/>
              </a:ext>
            </a:extLst>
          </p:cNvPr>
          <p:cNvSpPr>
            <a:spLocks noGrp="1"/>
          </p:cNvSpPr>
          <p:nvPr>
            <p:ph type="body" sz="quarter" idx="18"/>
          </p:nvPr>
        </p:nvSpPr>
        <p:spPr>
          <a:xfrm>
            <a:off x="3781766" y="2645568"/>
            <a:ext cx="1485000" cy="1789510"/>
          </a:xfrm>
        </p:spPr>
        <p:txBody>
          <a:bodyPr/>
          <a:lstStyle>
            <a:lvl1pPr algn="l">
              <a:defRPr/>
            </a:lvl1pPr>
            <a:lvl2pPr algn="l">
              <a:defRPr/>
            </a:lvl2pPr>
            <a:lvl3pPr algn="l">
              <a:defRPr/>
            </a:lvl3pPr>
            <a:lvl4pPr algn="l">
              <a:defRPr/>
            </a:lvl4pPr>
            <a:lvl5pPr algn="l">
              <a:defRPr/>
            </a:lvl5pPr>
          </a:lstStyle>
          <a:p>
            <a:pPr lvl="0"/>
            <a:r>
              <a:rPr lang="fr-FR"/>
              <a:t>Modifier les styles du texte du masque</a:t>
            </a:r>
          </a:p>
        </p:txBody>
      </p:sp>
      <p:sp>
        <p:nvSpPr>
          <p:cNvPr id="32" name="Espace réservé du texte 14">
            <a:extLst>
              <a:ext uri="{FF2B5EF4-FFF2-40B4-BE49-F238E27FC236}">
                <a16:creationId xmlns:a16="http://schemas.microsoft.com/office/drawing/2014/main" id="{31D594DF-B2F9-BDEA-68CF-C1C92B869ADF}"/>
              </a:ext>
            </a:extLst>
          </p:cNvPr>
          <p:cNvSpPr>
            <a:spLocks noGrp="1"/>
          </p:cNvSpPr>
          <p:nvPr>
            <p:ph type="body" sz="quarter" idx="20"/>
          </p:nvPr>
        </p:nvSpPr>
        <p:spPr>
          <a:xfrm>
            <a:off x="5371080" y="2645568"/>
            <a:ext cx="1485000" cy="1789510"/>
          </a:xfrm>
        </p:spPr>
        <p:txBody>
          <a:bodyPr/>
          <a:lstStyle>
            <a:lvl1pPr algn="l">
              <a:defRPr/>
            </a:lvl1pPr>
            <a:lvl2pPr algn="l">
              <a:defRPr/>
            </a:lvl2pPr>
            <a:lvl3pPr algn="l">
              <a:defRPr/>
            </a:lvl3pPr>
            <a:lvl4pPr algn="l">
              <a:defRPr/>
            </a:lvl4pPr>
            <a:lvl5pPr algn="l">
              <a:defRPr/>
            </a:lvl5pPr>
          </a:lstStyle>
          <a:p>
            <a:pPr lvl="0"/>
            <a:r>
              <a:rPr lang="fr-FR"/>
              <a:t>Modifier les styles du texte du masque</a:t>
            </a:r>
          </a:p>
        </p:txBody>
      </p:sp>
      <p:sp>
        <p:nvSpPr>
          <p:cNvPr id="33" name="Espace réservé du texte 14">
            <a:extLst>
              <a:ext uri="{FF2B5EF4-FFF2-40B4-BE49-F238E27FC236}">
                <a16:creationId xmlns:a16="http://schemas.microsoft.com/office/drawing/2014/main" id="{4EB8106A-BAE6-87F6-A881-562ED8FA4143}"/>
              </a:ext>
            </a:extLst>
          </p:cNvPr>
          <p:cNvSpPr>
            <a:spLocks noGrp="1"/>
          </p:cNvSpPr>
          <p:nvPr>
            <p:ph type="body" sz="quarter" idx="22"/>
          </p:nvPr>
        </p:nvSpPr>
        <p:spPr>
          <a:xfrm>
            <a:off x="7040141" y="2645568"/>
            <a:ext cx="1485000" cy="1789510"/>
          </a:xfrm>
        </p:spPr>
        <p:txBody>
          <a:bodyPr/>
          <a:lstStyle>
            <a:lvl1pPr algn="l">
              <a:defRPr/>
            </a:lvl1pPr>
            <a:lvl2pPr algn="l">
              <a:defRPr/>
            </a:lvl2pPr>
            <a:lvl3pPr algn="l">
              <a:defRPr/>
            </a:lvl3pPr>
            <a:lvl4pPr algn="l">
              <a:defRPr/>
            </a:lvl4pPr>
            <a:lvl5pPr algn="l">
              <a:defRPr/>
            </a:lvl5pPr>
          </a:lstStyle>
          <a:p>
            <a:pPr lvl="0"/>
            <a:r>
              <a:rPr lang="fr-FR"/>
              <a:t>Modifier les styles du texte du masque</a:t>
            </a:r>
          </a:p>
        </p:txBody>
      </p:sp>
      <p:sp>
        <p:nvSpPr>
          <p:cNvPr id="34" name="Espace réservé du texte 33">
            <a:extLst>
              <a:ext uri="{FF2B5EF4-FFF2-40B4-BE49-F238E27FC236}">
                <a16:creationId xmlns:a16="http://schemas.microsoft.com/office/drawing/2014/main" id="{6FA8E9A1-911D-DD9D-7A76-ADDB4C2E4317}"/>
              </a:ext>
            </a:extLst>
          </p:cNvPr>
          <p:cNvSpPr>
            <a:spLocks noGrp="1" noChangeAspect="1"/>
          </p:cNvSpPr>
          <p:nvPr>
            <p:ph type="body" sz="quarter" idx="23" hasCustomPrompt="1"/>
          </p:nvPr>
        </p:nvSpPr>
        <p:spPr>
          <a:xfrm>
            <a:off x="2181736" y="1187617"/>
            <a:ext cx="1620000" cy="1238549"/>
          </a:xfrm>
          <a:custGeom>
            <a:avLst/>
            <a:gdLst>
              <a:gd name="connsiteX0" fmla="*/ 0 w 1843864"/>
              <a:gd name="connsiteY0" fmla="*/ 0 h 1409700"/>
              <a:gd name="connsiteX1" fmla="*/ 1409699 w 1843864"/>
              <a:gd name="connsiteY1" fmla="*/ 0 h 1409700"/>
              <a:gd name="connsiteX2" fmla="*/ 1409699 w 1843864"/>
              <a:gd name="connsiteY2" fmla="*/ 471941 h 1409700"/>
              <a:gd name="connsiteX3" fmla="*/ 1535357 w 1843864"/>
              <a:gd name="connsiteY3" fmla="*/ 471941 h 1409700"/>
              <a:gd name="connsiteX4" fmla="*/ 1535357 w 1843864"/>
              <a:gd name="connsiteY4" fmla="*/ 239032 h 1409700"/>
              <a:gd name="connsiteX5" fmla="*/ 1843864 w 1843864"/>
              <a:gd name="connsiteY5" fmla="*/ 704851 h 1409700"/>
              <a:gd name="connsiteX6" fmla="*/ 1535357 w 1843864"/>
              <a:gd name="connsiteY6" fmla="*/ 1170669 h 1409700"/>
              <a:gd name="connsiteX7" fmla="*/ 1535357 w 1843864"/>
              <a:gd name="connsiteY7" fmla="*/ 937760 h 1409700"/>
              <a:gd name="connsiteX8" fmla="*/ 1409699 w 1843864"/>
              <a:gd name="connsiteY8" fmla="*/ 937760 h 1409700"/>
              <a:gd name="connsiteX9" fmla="*/ 1409699 w 1843864"/>
              <a:gd name="connsiteY9" fmla="*/ 1409700 h 1409700"/>
              <a:gd name="connsiteX10" fmla="*/ 0 w 1843864"/>
              <a:gd name="connsiteY10" fmla="*/ 140970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3864" h="1409700">
                <a:moveTo>
                  <a:pt x="0" y="0"/>
                </a:moveTo>
                <a:lnTo>
                  <a:pt x="1409699" y="0"/>
                </a:lnTo>
                <a:lnTo>
                  <a:pt x="1409699" y="471941"/>
                </a:lnTo>
                <a:lnTo>
                  <a:pt x="1535357" y="471941"/>
                </a:lnTo>
                <a:lnTo>
                  <a:pt x="1535357" y="239032"/>
                </a:lnTo>
                <a:lnTo>
                  <a:pt x="1843864" y="704851"/>
                </a:lnTo>
                <a:lnTo>
                  <a:pt x="1535357" y="1170669"/>
                </a:lnTo>
                <a:lnTo>
                  <a:pt x="1535357" y="937760"/>
                </a:lnTo>
                <a:lnTo>
                  <a:pt x="1409699" y="937760"/>
                </a:lnTo>
                <a:lnTo>
                  <a:pt x="1409699" y="1409700"/>
                </a:lnTo>
                <a:lnTo>
                  <a:pt x="0" y="1409700"/>
                </a:lnTo>
                <a:close/>
              </a:path>
            </a:pathLst>
          </a:custGeom>
          <a:solidFill>
            <a:schemeClr val="tx2"/>
          </a:solidFill>
        </p:spPr>
        <p:txBody>
          <a:bodyPr wrap="square" lIns="36000" tIns="36000" rIns="468000" bIns="36000" anchor="ctr">
            <a:no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35" name="Espace réservé du texte 34">
            <a:extLst>
              <a:ext uri="{FF2B5EF4-FFF2-40B4-BE49-F238E27FC236}">
                <a16:creationId xmlns:a16="http://schemas.microsoft.com/office/drawing/2014/main" id="{89C62950-23F5-0C27-DBF0-B851B616C800}"/>
              </a:ext>
            </a:extLst>
          </p:cNvPr>
          <p:cNvSpPr>
            <a:spLocks noGrp="1" noChangeAspect="1"/>
          </p:cNvSpPr>
          <p:nvPr>
            <p:ph type="body" sz="quarter" idx="24" hasCustomPrompt="1"/>
          </p:nvPr>
        </p:nvSpPr>
        <p:spPr>
          <a:xfrm>
            <a:off x="3825479" y="1187617"/>
            <a:ext cx="1620000" cy="1238549"/>
          </a:xfrm>
          <a:custGeom>
            <a:avLst/>
            <a:gdLst>
              <a:gd name="connsiteX0" fmla="*/ 0 w 1843864"/>
              <a:gd name="connsiteY0" fmla="*/ 0 h 1409700"/>
              <a:gd name="connsiteX1" fmla="*/ 1409699 w 1843864"/>
              <a:gd name="connsiteY1" fmla="*/ 0 h 1409700"/>
              <a:gd name="connsiteX2" fmla="*/ 1409699 w 1843864"/>
              <a:gd name="connsiteY2" fmla="*/ 471941 h 1409700"/>
              <a:gd name="connsiteX3" fmla="*/ 1535357 w 1843864"/>
              <a:gd name="connsiteY3" fmla="*/ 471941 h 1409700"/>
              <a:gd name="connsiteX4" fmla="*/ 1535357 w 1843864"/>
              <a:gd name="connsiteY4" fmla="*/ 239032 h 1409700"/>
              <a:gd name="connsiteX5" fmla="*/ 1843864 w 1843864"/>
              <a:gd name="connsiteY5" fmla="*/ 704851 h 1409700"/>
              <a:gd name="connsiteX6" fmla="*/ 1535357 w 1843864"/>
              <a:gd name="connsiteY6" fmla="*/ 1170669 h 1409700"/>
              <a:gd name="connsiteX7" fmla="*/ 1535357 w 1843864"/>
              <a:gd name="connsiteY7" fmla="*/ 937760 h 1409700"/>
              <a:gd name="connsiteX8" fmla="*/ 1409699 w 1843864"/>
              <a:gd name="connsiteY8" fmla="*/ 937760 h 1409700"/>
              <a:gd name="connsiteX9" fmla="*/ 1409699 w 1843864"/>
              <a:gd name="connsiteY9" fmla="*/ 1409700 h 1409700"/>
              <a:gd name="connsiteX10" fmla="*/ 0 w 1843864"/>
              <a:gd name="connsiteY10" fmla="*/ 140970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3864" h="1409700">
                <a:moveTo>
                  <a:pt x="0" y="0"/>
                </a:moveTo>
                <a:lnTo>
                  <a:pt x="1409699" y="0"/>
                </a:lnTo>
                <a:lnTo>
                  <a:pt x="1409699" y="471941"/>
                </a:lnTo>
                <a:lnTo>
                  <a:pt x="1535357" y="471941"/>
                </a:lnTo>
                <a:lnTo>
                  <a:pt x="1535357" y="239032"/>
                </a:lnTo>
                <a:lnTo>
                  <a:pt x="1843864" y="704851"/>
                </a:lnTo>
                <a:lnTo>
                  <a:pt x="1535357" y="1170669"/>
                </a:lnTo>
                <a:lnTo>
                  <a:pt x="1535357" y="937760"/>
                </a:lnTo>
                <a:lnTo>
                  <a:pt x="1409699" y="937760"/>
                </a:lnTo>
                <a:lnTo>
                  <a:pt x="1409699" y="1409700"/>
                </a:lnTo>
                <a:lnTo>
                  <a:pt x="0" y="1409700"/>
                </a:lnTo>
                <a:close/>
              </a:path>
            </a:pathLst>
          </a:custGeom>
          <a:solidFill>
            <a:schemeClr val="tx2"/>
          </a:solidFill>
        </p:spPr>
        <p:txBody>
          <a:bodyPr wrap="square" lIns="36000" tIns="36000" rIns="468000" bIns="36000" anchor="ctr">
            <a:no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36" name="Espace réservé du texte 35">
            <a:extLst>
              <a:ext uri="{FF2B5EF4-FFF2-40B4-BE49-F238E27FC236}">
                <a16:creationId xmlns:a16="http://schemas.microsoft.com/office/drawing/2014/main" id="{ABF9A6B1-3BC9-0F8E-8148-B1CF03BB61CA}"/>
              </a:ext>
            </a:extLst>
          </p:cNvPr>
          <p:cNvSpPr>
            <a:spLocks noGrp="1" noChangeAspect="1"/>
          </p:cNvSpPr>
          <p:nvPr>
            <p:ph type="body" sz="quarter" idx="25" hasCustomPrompt="1"/>
          </p:nvPr>
        </p:nvSpPr>
        <p:spPr>
          <a:xfrm>
            <a:off x="5414792" y="1187617"/>
            <a:ext cx="1620000" cy="1238549"/>
          </a:xfrm>
          <a:custGeom>
            <a:avLst/>
            <a:gdLst>
              <a:gd name="connsiteX0" fmla="*/ 0 w 1843864"/>
              <a:gd name="connsiteY0" fmla="*/ 0 h 1409700"/>
              <a:gd name="connsiteX1" fmla="*/ 1409699 w 1843864"/>
              <a:gd name="connsiteY1" fmla="*/ 0 h 1409700"/>
              <a:gd name="connsiteX2" fmla="*/ 1409699 w 1843864"/>
              <a:gd name="connsiteY2" fmla="*/ 471941 h 1409700"/>
              <a:gd name="connsiteX3" fmla="*/ 1535357 w 1843864"/>
              <a:gd name="connsiteY3" fmla="*/ 471941 h 1409700"/>
              <a:gd name="connsiteX4" fmla="*/ 1535357 w 1843864"/>
              <a:gd name="connsiteY4" fmla="*/ 239032 h 1409700"/>
              <a:gd name="connsiteX5" fmla="*/ 1843864 w 1843864"/>
              <a:gd name="connsiteY5" fmla="*/ 704851 h 1409700"/>
              <a:gd name="connsiteX6" fmla="*/ 1535357 w 1843864"/>
              <a:gd name="connsiteY6" fmla="*/ 1170669 h 1409700"/>
              <a:gd name="connsiteX7" fmla="*/ 1535357 w 1843864"/>
              <a:gd name="connsiteY7" fmla="*/ 937760 h 1409700"/>
              <a:gd name="connsiteX8" fmla="*/ 1409699 w 1843864"/>
              <a:gd name="connsiteY8" fmla="*/ 937760 h 1409700"/>
              <a:gd name="connsiteX9" fmla="*/ 1409699 w 1843864"/>
              <a:gd name="connsiteY9" fmla="*/ 1409700 h 1409700"/>
              <a:gd name="connsiteX10" fmla="*/ 0 w 1843864"/>
              <a:gd name="connsiteY10" fmla="*/ 1409700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3864" h="1409700">
                <a:moveTo>
                  <a:pt x="0" y="0"/>
                </a:moveTo>
                <a:lnTo>
                  <a:pt x="1409699" y="0"/>
                </a:lnTo>
                <a:lnTo>
                  <a:pt x="1409699" y="471941"/>
                </a:lnTo>
                <a:lnTo>
                  <a:pt x="1535357" y="471941"/>
                </a:lnTo>
                <a:lnTo>
                  <a:pt x="1535357" y="239032"/>
                </a:lnTo>
                <a:lnTo>
                  <a:pt x="1843864" y="704851"/>
                </a:lnTo>
                <a:lnTo>
                  <a:pt x="1535357" y="1170669"/>
                </a:lnTo>
                <a:lnTo>
                  <a:pt x="1535357" y="937760"/>
                </a:lnTo>
                <a:lnTo>
                  <a:pt x="1409699" y="937760"/>
                </a:lnTo>
                <a:lnTo>
                  <a:pt x="1409699" y="1409700"/>
                </a:lnTo>
                <a:lnTo>
                  <a:pt x="0" y="1409700"/>
                </a:lnTo>
                <a:close/>
              </a:path>
            </a:pathLst>
          </a:custGeom>
          <a:solidFill>
            <a:schemeClr val="tx2"/>
          </a:solidFill>
        </p:spPr>
        <p:txBody>
          <a:bodyPr wrap="square" lIns="36000" tIns="36000" rIns="468000" bIns="36000" anchor="ctr">
            <a:no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sp>
        <p:nvSpPr>
          <p:cNvPr id="38" name="Espace réservé du texte 11">
            <a:extLst>
              <a:ext uri="{FF2B5EF4-FFF2-40B4-BE49-F238E27FC236}">
                <a16:creationId xmlns:a16="http://schemas.microsoft.com/office/drawing/2014/main" id="{97EC53BB-3B6C-3AF7-68E1-48C8465AC201}"/>
              </a:ext>
            </a:extLst>
          </p:cNvPr>
          <p:cNvSpPr>
            <a:spLocks noGrp="1" noChangeAspect="1"/>
          </p:cNvSpPr>
          <p:nvPr>
            <p:ph type="body" sz="quarter" idx="21" hasCustomPrompt="1"/>
          </p:nvPr>
        </p:nvSpPr>
        <p:spPr>
          <a:xfrm>
            <a:off x="7040142" y="1187618"/>
            <a:ext cx="1239299" cy="1239300"/>
          </a:xfrm>
          <a:solidFill>
            <a:schemeClr val="tx2"/>
          </a:solidFill>
        </p:spPr>
        <p:txBody>
          <a:bodyPr lIns="36000" tIns="36000" rIns="36000" bIns="36000" anchor="ctr">
            <a:normAutofit/>
          </a:bodyPr>
          <a:lstStyle>
            <a:lvl1pPr algn="ctr">
              <a:lnSpc>
                <a:spcPct val="90000"/>
              </a:lnSpc>
              <a:defRPr sz="1050">
                <a:solidFill>
                  <a:schemeClr val="bg1"/>
                </a:solidFill>
              </a:defRPr>
            </a:lvl1pPr>
            <a:lvl2pPr marL="0" indent="0" algn="ctr">
              <a:lnSpc>
                <a:spcPct val="90000"/>
              </a:lnSpc>
              <a:buNone/>
              <a:defRPr sz="3000" b="1">
                <a:solidFill>
                  <a:schemeClr val="bg1"/>
                </a:solidFill>
                <a:latin typeface="+mj-lt"/>
              </a:defRPr>
            </a:lvl2pPr>
          </a:lstStyle>
          <a:p>
            <a:pPr lvl="0"/>
            <a:r>
              <a:rPr lang="fr-FR" dirty="0"/>
              <a:t>Item</a:t>
            </a:r>
          </a:p>
          <a:p>
            <a:pPr lvl="1"/>
            <a:r>
              <a:rPr lang="fr-FR" dirty="0"/>
              <a:t>0</a:t>
            </a:r>
          </a:p>
        </p:txBody>
      </p:sp>
      <p:pic>
        <p:nvPicPr>
          <p:cNvPr id="19" name="PATTERN CARRE DECAL">
            <a:extLst>
              <a:ext uri="{FF2B5EF4-FFF2-40B4-BE49-F238E27FC236}">
                <a16:creationId xmlns:a16="http://schemas.microsoft.com/office/drawing/2014/main" id="{0BAAE597-7E43-80FB-78E3-011B8787724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7494" t="76060" r="18770" b="-33262"/>
          <a:stretch/>
        </p:blipFill>
        <p:spPr>
          <a:xfrm>
            <a:off x="7219950" y="-1"/>
            <a:ext cx="1924050" cy="1136407"/>
          </a:xfrm>
          <a:prstGeom prst="rect">
            <a:avLst/>
          </a:prstGeom>
        </p:spPr>
      </p:pic>
      <p:sp>
        <p:nvSpPr>
          <p:cNvPr id="2" name="Titre 1">
            <a:extLst>
              <a:ext uri="{FF2B5EF4-FFF2-40B4-BE49-F238E27FC236}">
                <a16:creationId xmlns:a16="http://schemas.microsoft.com/office/drawing/2014/main" id="{7D2C0AC3-31B7-69C8-1880-96C477E56349}"/>
              </a:ext>
            </a:extLst>
          </p:cNvPr>
          <p:cNvSpPr>
            <a:spLocks noGrp="1"/>
          </p:cNvSpPr>
          <p:nvPr>
            <p:ph type="title"/>
          </p:nvPr>
        </p:nvSpPr>
        <p:spPr/>
        <p:txBody>
          <a:bodyPr/>
          <a:lstStyle>
            <a:lvl1pPr>
              <a:defRPr>
                <a:solidFill>
                  <a:schemeClr val="tx1"/>
                </a:solidFill>
              </a:defRPr>
            </a:lvl1pPr>
          </a:lstStyle>
          <a:p>
            <a:r>
              <a:rPr lang="fr-FR"/>
              <a:t>Modifiez le style du titre</a:t>
            </a:r>
          </a:p>
        </p:txBody>
      </p:sp>
    </p:spTree>
    <p:extLst>
      <p:ext uri="{BB962C8B-B14F-4D97-AF65-F5344CB8AC3E}">
        <p14:creationId xmlns:p14="http://schemas.microsoft.com/office/powerpoint/2010/main" val="10795495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IN">
    <p:spTree>
      <p:nvGrpSpPr>
        <p:cNvPr id="1" name=""/>
        <p:cNvGrpSpPr/>
        <p:nvPr/>
      </p:nvGrpSpPr>
      <p:grpSpPr>
        <a:xfrm>
          <a:off x="0" y="0"/>
          <a:ext cx="0" cy="0"/>
          <a:chOff x="0" y="0"/>
          <a:chExt cx="0" cy="0"/>
        </a:xfrm>
      </p:grpSpPr>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FIN</a:t>
            </a:r>
          </a:p>
        </p:txBody>
      </p:sp>
      <p:sp>
        <p:nvSpPr>
          <p:cNvPr id="2" name="Titre 1">
            <a:extLst>
              <a:ext uri="{FF2B5EF4-FFF2-40B4-BE49-F238E27FC236}">
                <a16:creationId xmlns:a16="http://schemas.microsoft.com/office/drawing/2014/main" id="{21EC821E-CA1A-6C83-0786-AF12C1B34DCC}"/>
              </a:ext>
            </a:extLst>
          </p:cNvPr>
          <p:cNvSpPr>
            <a:spLocks noGrp="1"/>
          </p:cNvSpPr>
          <p:nvPr>
            <p:ph type="title" hasCustomPrompt="1"/>
          </p:nvPr>
        </p:nvSpPr>
        <p:spPr>
          <a:xfrm>
            <a:off x="548878" y="2587228"/>
            <a:ext cx="1819275" cy="527447"/>
          </a:xfrm>
        </p:spPr>
        <p:txBody>
          <a:bodyPr anchor="t">
            <a:normAutofit/>
          </a:bodyPr>
          <a:lstStyle>
            <a:lvl1pPr algn="l">
              <a:defRPr sz="3000">
                <a:solidFill>
                  <a:schemeClr val="tx1"/>
                </a:solidFill>
              </a:defRPr>
            </a:lvl1pPr>
          </a:lstStyle>
          <a:p>
            <a:r>
              <a:rPr lang="fr-FR" dirty="0"/>
              <a:t>Merci</a:t>
            </a:r>
          </a:p>
        </p:txBody>
      </p:sp>
      <p:pic>
        <p:nvPicPr>
          <p:cNvPr id="16" name="Logo CEA">
            <a:extLst>
              <a:ext uri="{FF2B5EF4-FFF2-40B4-BE49-F238E27FC236}">
                <a16:creationId xmlns:a16="http://schemas.microsoft.com/office/drawing/2014/main" id="{1051C7ED-2FE9-229E-F0BD-000C6D22DE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8879" y="546497"/>
            <a:ext cx="1352700" cy="1352700"/>
          </a:xfrm>
          <a:prstGeom prst="rect">
            <a:avLst/>
          </a:prstGeom>
        </p:spPr>
      </p:pic>
      <p:sp>
        <p:nvSpPr>
          <p:cNvPr id="8" name="Espace réservé du texte 4"/>
          <p:cNvSpPr>
            <a:spLocks noGrp="1"/>
          </p:cNvSpPr>
          <p:nvPr>
            <p:ph type="body" sz="quarter" idx="14" hasCustomPrompt="1"/>
          </p:nvPr>
        </p:nvSpPr>
        <p:spPr>
          <a:xfrm>
            <a:off x="548878" y="3426278"/>
            <a:ext cx="4923234" cy="360045"/>
          </a:xfrm>
        </p:spPr>
        <p:txBody>
          <a:bodyPr>
            <a:normAutofit/>
          </a:bodyPr>
          <a:lstStyle>
            <a:lvl1pPr marL="0" marR="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sz="1050" b="1" baseline="0"/>
            </a:lvl1pPr>
          </a:lstStyle>
          <a:p>
            <a:pPr marL="0" marR="0" lvl="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a:pPr>
            <a:r>
              <a:rPr lang="fr-FR" b="1" dirty="0"/>
              <a:t>CRÉDITS PHOTO</a:t>
            </a:r>
          </a:p>
        </p:txBody>
      </p:sp>
      <p:pic>
        <p:nvPicPr>
          <p:cNvPr id="9"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sp>
        <p:nvSpPr>
          <p:cNvPr id="5" name="Espace réservé du texte 4">
            <a:extLst>
              <a:ext uri="{FF2B5EF4-FFF2-40B4-BE49-F238E27FC236}">
                <a16:creationId xmlns:a16="http://schemas.microsoft.com/office/drawing/2014/main" id="{0A3E8B46-58E5-AAA0-387D-4D0B3F7256B2}"/>
              </a:ext>
            </a:extLst>
          </p:cNvPr>
          <p:cNvSpPr>
            <a:spLocks noGrp="1"/>
          </p:cNvSpPr>
          <p:nvPr>
            <p:ph type="body" sz="quarter" idx="16" hasCustomPrompt="1"/>
          </p:nvPr>
        </p:nvSpPr>
        <p:spPr>
          <a:xfrm>
            <a:off x="6343651" y="3381375"/>
            <a:ext cx="2251472" cy="1447800"/>
          </a:xfrm>
        </p:spPr>
        <p:txBody>
          <a:bodyPr>
            <a:normAutofit/>
          </a:bodyPr>
          <a:lstStyle>
            <a:lvl1pPr>
              <a:spcBef>
                <a:spcPts val="450"/>
              </a:spcBef>
              <a:defRPr sz="1050"/>
            </a:lvl1pPr>
          </a:lstStyle>
          <a:p>
            <a:pPr lvl="0"/>
            <a:r>
              <a:rPr lang="fr-FR" dirty="0"/>
              <a:t>Contact + coordonnées</a:t>
            </a:r>
          </a:p>
        </p:txBody>
      </p:sp>
      <p:sp>
        <p:nvSpPr>
          <p:cNvPr id="6" name="Espace réservé du texte 4">
            <a:extLst>
              <a:ext uri="{FF2B5EF4-FFF2-40B4-BE49-F238E27FC236}">
                <a16:creationId xmlns:a16="http://schemas.microsoft.com/office/drawing/2014/main" id="{64A62886-21D9-96B1-E41B-BFA9B096844D}"/>
              </a:ext>
            </a:extLst>
          </p:cNvPr>
          <p:cNvSpPr>
            <a:spLocks noGrp="1"/>
          </p:cNvSpPr>
          <p:nvPr>
            <p:ph type="body" sz="quarter" idx="17" hasCustomPrompt="1"/>
          </p:nvPr>
        </p:nvSpPr>
        <p:spPr>
          <a:xfrm>
            <a:off x="557212" y="4419600"/>
            <a:ext cx="4933950" cy="419100"/>
          </a:xfrm>
        </p:spPr>
        <p:txBody>
          <a:bodyPr>
            <a:normAutofit/>
          </a:bodyPr>
          <a:lstStyle>
            <a:lvl1pPr>
              <a:defRPr sz="900" i="1"/>
            </a:lvl1pPr>
          </a:lstStyle>
          <a:p>
            <a:pPr lvl="0"/>
            <a:r>
              <a:rPr lang="fr-FR" dirty="0"/>
              <a:t>Emplacement logotypes financeurs/partenaires</a:t>
            </a:r>
          </a:p>
        </p:txBody>
      </p:sp>
    </p:spTree>
    <p:extLst>
      <p:ext uri="{BB962C8B-B14F-4D97-AF65-F5344CB8AC3E}">
        <p14:creationId xmlns:p14="http://schemas.microsoft.com/office/powerpoint/2010/main" val="40468035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IN CEA LITEN">
    <p:spTree>
      <p:nvGrpSpPr>
        <p:cNvPr id="1" name=""/>
        <p:cNvGrpSpPr/>
        <p:nvPr/>
      </p:nvGrpSpPr>
      <p:grpSpPr>
        <a:xfrm>
          <a:off x="0" y="0"/>
          <a:ext cx="0" cy="0"/>
          <a:chOff x="0" y="0"/>
          <a:chExt cx="0" cy="0"/>
        </a:xfrm>
      </p:grpSpPr>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FIN</a:t>
            </a:r>
          </a:p>
        </p:txBody>
      </p:sp>
      <p:sp>
        <p:nvSpPr>
          <p:cNvPr id="2" name="Titre 1">
            <a:extLst>
              <a:ext uri="{FF2B5EF4-FFF2-40B4-BE49-F238E27FC236}">
                <a16:creationId xmlns:a16="http://schemas.microsoft.com/office/drawing/2014/main" id="{21EC821E-CA1A-6C83-0786-AF12C1B34DCC}"/>
              </a:ext>
            </a:extLst>
          </p:cNvPr>
          <p:cNvSpPr>
            <a:spLocks noGrp="1"/>
          </p:cNvSpPr>
          <p:nvPr>
            <p:ph type="title" hasCustomPrompt="1"/>
          </p:nvPr>
        </p:nvSpPr>
        <p:spPr>
          <a:xfrm>
            <a:off x="548878" y="2587228"/>
            <a:ext cx="1819275" cy="527447"/>
          </a:xfrm>
        </p:spPr>
        <p:txBody>
          <a:bodyPr anchor="t">
            <a:normAutofit/>
          </a:bodyPr>
          <a:lstStyle>
            <a:lvl1pPr algn="l">
              <a:defRPr sz="3000">
                <a:solidFill>
                  <a:schemeClr val="tx1"/>
                </a:solidFill>
              </a:defRPr>
            </a:lvl1pPr>
          </a:lstStyle>
          <a:p>
            <a:r>
              <a:rPr lang="fr-FR" dirty="0"/>
              <a:t>Merci</a:t>
            </a:r>
          </a:p>
        </p:txBody>
      </p:sp>
      <p:sp>
        <p:nvSpPr>
          <p:cNvPr id="8" name="Espace réservé du texte 4"/>
          <p:cNvSpPr>
            <a:spLocks noGrp="1"/>
          </p:cNvSpPr>
          <p:nvPr>
            <p:ph type="body" sz="quarter" idx="14" hasCustomPrompt="1"/>
          </p:nvPr>
        </p:nvSpPr>
        <p:spPr>
          <a:xfrm>
            <a:off x="548878" y="3426278"/>
            <a:ext cx="4923234" cy="360045"/>
          </a:xfrm>
        </p:spPr>
        <p:txBody>
          <a:bodyPr>
            <a:normAutofit/>
          </a:bodyPr>
          <a:lstStyle>
            <a:lvl1pPr marL="0" marR="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sz="1050" b="1" baseline="0"/>
            </a:lvl1pPr>
          </a:lstStyle>
          <a:p>
            <a:pPr marL="0" marR="0" lvl="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a:pPr>
            <a:r>
              <a:rPr lang="fr-FR" b="1" dirty="0"/>
              <a:t>CRÉDITS PHOTO</a:t>
            </a:r>
          </a:p>
        </p:txBody>
      </p:sp>
      <p:pic>
        <p:nvPicPr>
          <p:cNvPr id="9"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sp>
        <p:nvSpPr>
          <p:cNvPr id="5" name="Espace réservé du texte 4">
            <a:extLst>
              <a:ext uri="{FF2B5EF4-FFF2-40B4-BE49-F238E27FC236}">
                <a16:creationId xmlns:a16="http://schemas.microsoft.com/office/drawing/2014/main" id="{0A3E8B46-58E5-AAA0-387D-4D0B3F7256B2}"/>
              </a:ext>
            </a:extLst>
          </p:cNvPr>
          <p:cNvSpPr>
            <a:spLocks noGrp="1"/>
          </p:cNvSpPr>
          <p:nvPr>
            <p:ph type="body" sz="quarter" idx="16" hasCustomPrompt="1"/>
          </p:nvPr>
        </p:nvSpPr>
        <p:spPr>
          <a:xfrm>
            <a:off x="6343651" y="3381375"/>
            <a:ext cx="2251472" cy="1447800"/>
          </a:xfrm>
        </p:spPr>
        <p:txBody>
          <a:bodyPr>
            <a:normAutofit/>
          </a:bodyPr>
          <a:lstStyle>
            <a:lvl1pPr>
              <a:spcBef>
                <a:spcPts val="450"/>
              </a:spcBef>
              <a:defRPr sz="1050"/>
            </a:lvl1pPr>
          </a:lstStyle>
          <a:p>
            <a:pPr lvl="0"/>
            <a:r>
              <a:rPr lang="fr-FR" dirty="0"/>
              <a:t>Contact + coordonnées</a:t>
            </a:r>
          </a:p>
        </p:txBody>
      </p:sp>
      <p:sp>
        <p:nvSpPr>
          <p:cNvPr id="6" name="Espace réservé du texte 4">
            <a:extLst>
              <a:ext uri="{FF2B5EF4-FFF2-40B4-BE49-F238E27FC236}">
                <a16:creationId xmlns:a16="http://schemas.microsoft.com/office/drawing/2014/main" id="{64A62886-21D9-96B1-E41B-BFA9B096844D}"/>
              </a:ext>
            </a:extLst>
          </p:cNvPr>
          <p:cNvSpPr>
            <a:spLocks noGrp="1"/>
          </p:cNvSpPr>
          <p:nvPr>
            <p:ph type="body" sz="quarter" idx="17" hasCustomPrompt="1"/>
          </p:nvPr>
        </p:nvSpPr>
        <p:spPr>
          <a:xfrm>
            <a:off x="557212" y="4419600"/>
            <a:ext cx="4933950" cy="419100"/>
          </a:xfrm>
        </p:spPr>
        <p:txBody>
          <a:bodyPr>
            <a:normAutofit/>
          </a:bodyPr>
          <a:lstStyle>
            <a:lvl1pPr>
              <a:defRPr sz="900" i="1"/>
            </a:lvl1pPr>
          </a:lstStyle>
          <a:p>
            <a:pPr lvl="0"/>
            <a:r>
              <a:rPr lang="fr-FR" dirty="0"/>
              <a:t>Emplacement logotypes financeurs/partenaires</a:t>
            </a:r>
          </a:p>
        </p:txBody>
      </p:sp>
      <p:pic>
        <p:nvPicPr>
          <p:cNvPr id="4" name="Image 3"/>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557212" y="555923"/>
            <a:ext cx="3022225" cy="1343274"/>
          </a:xfrm>
          <a:prstGeom prst="rect">
            <a:avLst/>
          </a:prstGeom>
        </p:spPr>
      </p:pic>
    </p:spTree>
    <p:extLst>
      <p:ext uri="{BB962C8B-B14F-4D97-AF65-F5344CB8AC3E}">
        <p14:creationId xmlns:p14="http://schemas.microsoft.com/office/powerpoint/2010/main" val="36029665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IN Gri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FIN Gris</a:t>
            </a:r>
          </a:p>
        </p:txBody>
      </p:sp>
      <p:sp>
        <p:nvSpPr>
          <p:cNvPr id="2" name="Titre 1">
            <a:extLst>
              <a:ext uri="{FF2B5EF4-FFF2-40B4-BE49-F238E27FC236}">
                <a16:creationId xmlns:a16="http://schemas.microsoft.com/office/drawing/2014/main" id="{21EC821E-CA1A-6C83-0786-AF12C1B34DCC}"/>
              </a:ext>
            </a:extLst>
          </p:cNvPr>
          <p:cNvSpPr>
            <a:spLocks noGrp="1"/>
          </p:cNvSpPr>
          <p:nvPr>
            <p:ph type="title" hasCustomPrompt="1"/>
          </p:nvPr>
        </p:nvSpPr>
        <p:spPr>
          <a:xfrm>
            <a:off x="548878" y="2587228"/>
            <a:ext cx="1819275" cy="527447"/>
          </a:xfrm>
        </p:spPr>
        <p:txBody>
          <a:bodyPr anchor="t">
            <a:normAutofit/>
          </a:bodyPr>
          <a:lstStyle>
            <a:lvl1pPr algn="l">
              <a:defRPr sz="3000">
                <a:solidFill>
                  <a:schemeClr val="bg1"/>
                </a:solidFill>
              </a:defRPr>
            </a:lvl1pPr>
          </a:lstStyle>
          <a:p>
            <a:r>
              <a:rPr lang="fr-FR" dirty="0"/>
              <a:t>Merci</a:t>
            </a:r>
          </a:p>
        </p:txBody>
      </p:sp>
      <p:pic>
        <p:nvPicPr>
          <p:cNvPr id="15" name="Logo CEA">
            <a:extLst>
              <a:ext uri="{FF2B5EF4-FFF2-40B4-BE49-F238E27FC236}">
                <a16:creationId xmlns:a16="http://schemas.microsoft.com/office/drawing/2014/main" id="{1051C7ED-2FE9-229E-F0BD-000C6D22DE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8879" y="546497"/>
            <a:ext cx="1352700" cy="1352700"/>
          </a:xfrm>
          <a:prstGeom prst="rect">
            <a:avLst/>
          </a:prstGeom>
        </p:spPr>
      </p:pic>
      <p:pic>
        <p:nvPicPr>
          <p:cNvPr id="9" name="Image 8">
            <a:extLst>
              <a:ext uri="{FF2B5EF4-FFF2-40B4-BE49-F238E27FC236}">
                <a16:creationId xmlns:a16="http://schemas.microsoft.com/office/drawing/2014/main" id="{2E000BD1-941E-96DB-8740-6C7D2BD0EE7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9791" r="39816"/>
          <a:stretch/>
        </p:blipFill>
        <p:spPr>
          <a:xfrm>
            <a:off x="7027200" y="0"/>
            <a:ext cx="2116801" cy="1856509"/>
          </a:xfrm>
          <a:prstGeom prst="rect">
            <a:avLst/>
          </a:prstGeom>
        </p:spPr>
      </p:pic>
      <p:sp>
        <p:nvSpPr>
          <p:cNvPr id="3" name="Espace réservé du texte 4">
            <a:extLst>
              <a:ext uri="{FF2B5EF4-FFF2-40B4-BE49-F238E27FC236}">
                <a16:creationId xmlns:a16="http://schemas.microsoft.com/office/drawing/2014/main" id="{0D902288-F09E-3DF3-4FA0-8680492FC7E7}"/>
              </a:ext>
            </a:extLst>
          </p:cNvPr>
          <p:cNvSpPr>
            <a:spLocks noGrp="1"/>
          </p:cNvSpPr>
          <p:nvPr>
            <p:ph type="body" sz="quarter" idx="14" hasCustomPrompt="1"/>
          </p:nvPr>
        </p:nvSpPr>
        <p:spPr>
          <a:xfrm>
            <a:off x="548878" y="3426278"/>
            <a:ext cx="4923234" cy="360045"/>
          </a:xfrm>
        </p:spPr>
        <p:txBody>
          <a:bodyPr>
            <a:normAutofit/>
          </a:bodyPr>
          <a:lstStyle>
            <a:lvl1pPr marL="0" marR="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sz="1050" b="1" baseline="0">
                <a:solidFill>
                  <a:schemeClr val="bg1"/>
                </a:solidFill>
              </a:defRPr>
            </a:lvl1pPr>
          </a:lstStyle>
          <a:p>
            <a:pPr marL="0" marR="0" lvl="0" indent="0" algn="l" defTabSz="685800" rtl="0" eaLnBrk="1" fontAlgn="auto" latinLnBrk="0" hangingPunct="1">
              <a:lnSpc>
                <a:spcPct val="100000"/>
              </a:lnSpc>
              <a:spcBef>
                <a:spcPts val="900"/>
              </a:spcBef>
              <a:spcAft>
                <a:spcPts val="0"/>
              </a:spcAft>
              <a:buClr>
                <a:schemeClr val="tx2"/>
              </a:buClr>
              <a:buSzPct val="90000"/>
              <a:buFont typeface="Arial" panose="020B0604020202020204" pitchFamily="34" charset="0"/>
              <a:buNone/>
              <a:tabLst/>
              <a:defRPr/>
            </a:pPr>
            <a:r>
              <a:rPr lang="fr-FR" b="1" dirty="0"/>
              <a:t>CRÉDITS PHOTO</a:t>
            </a:r>
          </a:p>
        </p:txBody>
      </p:sp>
      <p:sp>
        <p:nvSpPr>
          <p:cNvPr id="8" name="Espace réservé du texte 4">
            <a:extLst>
              <a:ext uri="{FF2B5EF4-FFF2-40B4-BE49-F238E27FC236}">
                <a16:creationId xmlns:a16="http://schemas.microsoft.com/office/drawing/2014/main" id="{81B85C49-3012-97FD-C776-3C7299B5E487}"/>
              </a:ext>
            </a:extLst>
          </p:cNvPr>
          <p:cNvSpPr>
            <a:spLocks noGrp="1"/>
          </p:cNvSpPr>
          <p:nvPr>
            <p:ph type="body" sz="quarter" idx="16" hasCustomPrompt="1"/>
          </p:nvPr>
        </p:nvSpPr>
        <p:spPr>
          <a:xfrm>
            <a:off x="6343651" y="3381375"/>
            <a:ext cx="2251472" cy="1447800"/>
          </a:xfrm>
        </p:spPr>
        <p:txBody>
          <a:bodyPr>
            <a:normAutofit/>
          </a:bodyPr>
          <a:lstStyle>
            <a:lvl1pPr>
              <a:spcBef>
                <a:spcPts val="450"/>
              </a:spcBef>
              <a:defRPr sz="1050">
                <a:solidFill>
                  <a:schemeClr val="bg1"/>
                </a:solidFill>
              </a:defRPr>
            </a:lvl1pPr>
          </a:lstStyle>
          <a:p>
            <a:pPr lvl="0"/>
            <a:r>
              <a:rPr lang="fr-FR" dirty="0"/>
              <a:t>Contact + coordonnées</a:t>
            </a:r>
          </a:p>
        </p:txBody>
      </p:sp>
      <p:sp>
        <p:nvSpPr>
          <p:cNvPr id="10" name="Espace réservé du texte 4">
            <a:extLst>
              <a:ext uri="{FF2B5EF4-FFF2-40B4-BE49-F238E27FC236}">
                <a16:creationId xmlns:a16="http://schemas.microsoft.com/office/drawing/2014/main" id="{DFC68CDA-E659-1835-4722-CB92A2FFFEFE}"/>
              </a:ext>
            </a:extLst>
          </p:cNvPr>
          <p:cNvSpPr>
            <a:spLocks noGrp="1"/>
          </p:cNvSpPr>
          <p:nvPr>
            <p:ph type="body" sz="quarter" idx="17" hasCustomPrompt="1"/>
          </p:nvPr>
        </p:nvSpPr>
        <p:spPr>
          <a:xfrm>
            <a:off x="557212" y="4419600"/>
            <a:ext cx="4933950" cy="419100"/>
          </a:xfrm>
        </p:spPr>
        <p:txBody>
          <a:bodyPr>
            <a:normAutofit/>
          </a:bodyPr>
          <a:lstStyle>
            <a:lvl1pPr>
              <a:defRPr sz="900" i="1">
                <a:solidFill>
                  <a:schemeClr val="bg1"/>
                </a:solidFill>
              </a:defRPr>
            </a:lvl1pPr>
          </a:lstStyle>
          <a:p>
            <a:pPr lvl="0"/>
            <a:r>
              <a:rPr lang="fr-FR" dirty="0"/>
              <a:t>Emplacement logotypes financeurs/partenaires</a:t>
            </a:r>
          </a:p>
        </p:txBody>
      </p:sp>
    </p:spTree>
    <p:extLst>
      <p:ext uri="{BB962C8B-B14F-4D97-AF65-F5344CB8AC3E}">
        <p14:creationId xmlns:p14="http://schemas.microsoft.com/office/powerpoint/2010/main" val="8984196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re imag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7B68EE-BDE5-1E9D-059B-83B50A6ACD18}"/>
              </a:ext>
            </a:extLst>
          </p:cNvPr>
          <p:cNvSpPr>
            <a:spLocks noGrp="1"/>
          </p:cNvSpPr>
          <p:nvPr>
            <p:ph type="ctrTitle"/>
          </p:nvPr>
        </p:nvSpPr>
        <p:spPr>
          <a:xfrm>
            <a:off x="548879" y="1990725"/>
            <a:ext cx="3970734" cy="1190626"/>
          </a:xfrm>
        </p:spPr>
        <p:txBody>
          <a:bodyPr lIns="0" anchor="b">
            <a:normAutofit/>
          </a:bodyPr>
          <a:lstStyle>
            <a:lvl1pPr algn="l">
              <a:defRPr sz="2100">
                <a:solidFill>
                  <a:schemeClr val="tx1"/>
                </a:solidFill>
              </a:defRPr>
            </a:lvl1pPr>
          </a:lstStyle>
          <a:p>
            <a:r>
              <a:rPr lang="fr-FR"/>
              <a:t>Modifiez le style du titre</a:t>
            </a:r>
            <a:endParaRPr lang="fr-FR" dirty="0"/>
          </a:p>
        </p:txBody>
      </p:sp>
      <p:sp>
        <p:nvSpPr>
          <p:cNvPr id="3" name="Sous-titre 2">
            <a:extLst>
              <a:ext uri="{FF2B5EF4-FFF2-40B4-BE49-F238E27FC236}">
                <a16:creationId xmlns:a16="http://schemas.microsoft.com/office/drawing/2014/main" id="{34801059-2D37-8D44-42C0-ED46DE3A8FD1}"/>
              </a:ext>
            </a:extLst>
          </p:cNvPr>
          <p:cNvSpPr>
            <a:spLocks noGrp="1"/>
          </p:cNvSpPr>
          <p:nvPr>
            <p:ph type="subTitle" idx="1" hasCustomPrompt="1"/>
          </p:nvPr>
        </p:nvSpPr>
        <p:spPr>
          <a:xfrm>
            <a:off x="548879" y="3196828"/>
            <a:ext cx="3970734" cy="1241822"/>
          </a:xfrm>
        </p:spPr>
        <p:txBody>
          <a:bodyPr rIns="0">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dirty="0"/>
              <a:t>Modifier le style des sous-titres du masque</a:t>
            </a:r>
          </a:p>
        </p:txBody>
      </p:sp>
      <p:pic>
        <p:nvPicPr>
          <p:cNvPr id="8" name="Logo CEA">
            <a:extLst>
              <a:ext uri="{FF2B5EF4-FFF2-40B4-BE49-F238E27FC236}">
                <a16:creationId xmlns:a16="http://schemas.microsoft.com/office/drawing/2014/main" id="{1051C7ED-2FE9-229E-F0BD-000C6D22DEC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3342" y="426764"/>
            <a:ext cx="1352700" cy="1352700"/>
          </a:xfrm>
          <a:prstGeom prst="rect">
            <a:avLst/>
          </a:prstGeom>
        </p:spPr>
      </p:pic>
      <p:sp>
        <p:nvSpPr>
          <p:cNvPr id="10" name="ZoneTexte 9">
            <a:extLst>
              <a:ext uri="{FF2B5EF4-FFF2-40B4-BE49-F238E27FC236}">
                <a16:creationId xmlns:a16="http://schemas.microsoft.com/office/drawing/2014/main" id="{931EACC6-5472-4DD6-3DB8-DB3936803B32}"/>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image</a:t>
            </a:r>
          </a:p>
        </p:txBody>
      </p:sp>
      <p:sp>
        <p:nvSpPr>
          <p:cNvPr id="38" name="Rectangle 21">
            <a:extLst>
              <a:ext uri="{FF2B5EF4-FFF2-40B4-BE49-F238E27FC236}">
                <a16:creationId xmlns:a16="http://schemas.microsoft.com/office/drawing/2014/main" id="{A735B0D2-65F8-67B3-4CB3-F526012A0592}"/>
              </a:ext>
            </a:extLst>
          </p:cNvPr>
          <p:cNvSpPr>
            <a:spLocks noChangeArrowheads="1"/>
          </p:cNvSpPr>
          <p:nvPr userDrawn="1"/>
        </p:nvSpPr>
        <p:spPr bwMode="auto">
          <a:xfrm>
            <a:off x="5332939" y="-1191"/>
            <a:ext cx="15479" cy="2333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fr-FR" sz="1350"/>
          </a:p>
        </p:txBody>
      </p:sp>
      <p:sp>
        <p:nvSpPr>
          <p:cNvPr id="61" name="Espace réservé pour une image  60">
            <a:extLst>
              <a:ext uri="{FF2B5EF4-FFF2-40B4-BE49-F238E27FC236}">
                <a16:creationId xmlns:a16="http://schemas.microsoft.com/office/drawing/2014/main" id="{570E7ABE-1C46-BCBC-E4AA-CED1991C314D}"/>
              </a:ext>
            </a:extLst>
          </p:cNvPr>
          <p:cNvSpPr>
            <a:spLocks noGrp="1"/>
          </p:cNvSpPr>
          <p:nvPr>
            <p:ph type="pic" sz="quarter" idx="10" hasCustomPrompt="1"/>
          </p:nvPr>
        </p:nvSpPr>
        <p:spPr>
          <a:xfrm>
            <a:off x="4076700" y="0"/>
            <a:ext cx="5067300" cy="5143500"/>
          </a:xfrm>
          <a:custGeom>
            <a:avLst/>
            <a:gdLst>
              <a:gd name="connsiteX0" fmla="*/ 558577 w 6756400"/>
              <a:gd name="connsiteY0" fmla="*/ 2472501 h 6858000"/>
              <a:gd name="connsiteX1" fmla="*/ 1118234 w 6756400"/>
              <a:gd name="connsiteY1" fmla="*/ 2898413 h 6858000"/>
              <a:gd name="connsiteX2" fmla="*/ 754773 w 6756400"/>
              <a:gd name="connsiteY2" fmla="*/ 3179642 h 6858000"/>
              <a:gd name="connsiteX3" fmla="*/ 765623 w 6756400"/>
              <a:gd name="connsiteY3" fmla="*/ 3197727 h 6858000"/>
              <a:gd name="connsiteX4" fmla="*/ 1132700 w 6756400"/>
              <a:gd name="connsiteY4" fmla="*/ 2912881 h 6858000"/>
              <a:gd name="connsiteX5" fmla="*/ 1132700 w 6756400"/>
              <a:gd name="connsiteY5" fmla="*/ 3443689 h 6858000"/>
              <a:gd name="connsiteX6" fmla="*/ 978998 w 6756400"/>
              <a:gd name="connsiteY6" fmla="*/ 3562149 h 6858000"/>
              <a:gd name="connsiteX7" fmla="*/ 990752 w 6756400"/>
              <a:gd name="connsiteY7" fmla="*/ 3582043 h 6858000"/>
              <a:gd name="connsiteX8" fmla="*/ 1138125 w 6756400"/>
              <a:gd name="connsiteY8" fmla="*/ 3467200 h 6858000"/>
              <a:gd name="connsiteX9" fmla="*/ 1697783 w 6756400"/>
              <a:gd name="connsiteY9" fmla="*/ 3892208 h 6858000"/>
              <a:gd name="connsiteX10" fmla="*/ 1337034 w 6756400"/>
              <a:gd name="connsiteY10" fmla="*/ 4172532 h 6858000"/>
              <a:gd name="connsiteX11" fmla="*/ 1346980 w 6756400"/>
              <a:gd name="connsiteY11" fmla="*/ 4190618 h 6858000"/>
              <a:gd name="connsiteX12" fmla="*/ 1704112 w 6756400"/>
              <a:gd name="connsiteY12" fmla="*/ 3913006 h 6858000"/>
              <a:gd name="connsiteX13" fmla="*/ 1704112 w 6756400"/>
              <a:gd name="connsiteY13" fmla="*/ 4443814 h 6858000"/>
              <a:gd name="connsiteX14" fmla="*/ 1560355 w 6756400"/>
              <a:gd name="connsiteY14" fmla="*/ 4555944 h 6858000"/>
              <a:gd name="connsiteX15" fmla="*/ 1149879 w 6756400"/>
              <a:gd name="connsiteY15" fmla="*/ 4874248 h 6858000"/>
              <a:gd name="connsiteX16" fmla="*/ 1149879 w 6756400"/>
              <a:gd name="connsiteY16" fmla="*/ 4343440 h 6858000"/>
              <a:gd name="connsiteX17" fmla="*/ 1346076 w 6756400"/>
              <a:gd name="connsiteY17" fmla="*/ 4190618 h 6858000"/>
              <a:gd name="connsiteX18" fmla="*/ 1336130 w 6756400"/>
              <a:gd name="connsiteY18" fmla="*/ 4173437 h 6858000"/>
              <a:gd name="connsiteX19" fmla="*/ 1139934 w 6756400"/>
              <a:gd name="connsiteY19" fmla="*/ 4325354 h 6858000"/>
              <a:gd name="connsiteX20" fmla="*/ 580276 w 6756400"/>
              <a:gd name="connsiteY20" fmla="*/ 3900346 h 6858000"/>
              <a:gd name="connsiteX21" fmla="*/ 989848 w 6756400"/>
              <a:gd name="connsiteY21" fmla="*/ 3582043 h 6858000"/>
              <a:gd name="connsiteX22" fmla="*/ 978094 w 6756400"/>
              <a:gd name="connsiteY22" fmla="*/ 3563053 h 6858000"/>
              <a:gd name="connsiteX23" fmla="*/ 577563 w 6756400"/>
              <a:gd name="connsiteY23" fmla="*/ 3874123 h 6858000"/>
              <a:gd name="connsiteX24" fmla="*/ 577563 w 6756400"/>
              <a:gd name="connsiteY24" fmla="*/ 3342411 h 6858000"/>
              <a:gd name="connsiteX25" fmla="*/ 764719 w 6756400"/>
              <a:gd name="connsiteY25" fmla="*/ 3197727 h 6858000"/>
              <a:gd name="connsiteX26" fmla="*/ 754773 w 6756400"/>
              <a:gd name="connsiteY26" fmla="*/ 3180546 h 6858000"/>
              <a:gd name="connsiteX27" fmla="*/ 567618 w 6756400"/>
              <a:gd name="connsiteY27" fmla="*/ 3325229 h 6858000"/>
              <a:gd name="connsiteX28" fmla="*/ 7960 w 6756400"/>
              <a:gd name="connsiteY28" fmla="*/ 2899317 h 6858000"/>
              <a:gd name="connsiteX29" fmla="*/ 558577 w 6756400"/>
              <a:gd name="connsiteY29" fmla="*/ 2472501 h 6858000"/>
              <a:gd name="connsiteX30" fmla="*/ 1724907 w 6756400"/>
              <a:gd name="connsiteY30" fmla="*/ 0 h 6858000"/>
              <a:gd name="connsiteX31" fmla="*/ 6756400 w 6756400"/>
              <a:gd name="connsiteY31" fmla="*/ 0 h 6858000"/>
              <a:gd name="connsiteX32" fmla="*/ 6756400 w 6756400"/>
              <a:gd name="connsiteY32" fmla="*/ 6858000 h 6858000"/>
              <a:gd name="connsiteX33" fmla="*/ 0 w 6756400"/>
              <a:gd name="connsiteY33" fmla="*/ 6858000 h 6858000"/>
              <a:gd name="connsiteX34" fmla="*/ 0 w 6756400"/>
              <a:gd name="connsiteY34" fmla="*/ 6856412 h 6858000"/>
              <a:gd name="connsiteX35" fmla="*/ 162738 w 6756400"/>
              <a:gd name="connsiteY35" fmla="*/ 6856412 h 6858000"/>
              <a:gd name="connsiteX36" fmla="*/ 1149879 w 6756400"/>
              <a:gd name="connsiteY36" fmla="*/ 6856412 h 6858000"/>
              <a:gd name="connsiteX37" fmla="*/ 1149879 w 6756400"/>
              <a:gd name="connsiteY37" fmla="*/ 6332839 h 6858000"/>
              <a:gd name="connsiteX38" fmla="*/ 1704112 w 6756400"/>
              <a:gd name="connsiteY38" fmla="*/ 5902405 h 6858000"/>
              <a:gd name="connsiteX39" fmla="*/ 1704112 w 6756400"/>
              <a:gd name="connsiteY39" fmla="*/ 6433213 h 6858000"/>
              <a:gd name="connsiteX40" fmla="*/ 1159824 w 6756400"/>
              <a:gd name="connsiteY40" fmla="*/ 6855508 h 6858000"/>
              <a:gd name="connsiteX41" fmla="*/ 1193277 w 6756400"/>
              <a:gd name="connsiteY41" fmla="*/ 6855508 h 6858000"/>
              <a:gd name="connsiteX42" fmla="*/ 1724907 w 6756400"/>
              <a:gd name="connsiteY42" fmla="*/ 6443160 h 6858000"/>
              <a:gd name="connsiteX43" fmla="*/ 1724907 w 6756400"/>
              <a:gd name="connsiteY43" fmla="*/ 5877086 h 6858000"/>
              <a:gd name="connsiteX44" fmla="*/ 1386762 w 6756400"/>
              <a:gd name="connsiteY44" fmla="*/ 5620272 h 6858000"/>
              <a:gd name="connsiteX45" fmla="*/ 1343363 w 6756400"/>
              <a:gd name="connsiteY45" fmla="*/ 5612134 h 6858000"/>
              <a:gd name="connsiteX46" fmla="*/ 1697783 w 6756400"/>
              <a:gd name="connsiteY46" fmla="*/ 5881607 h 6858000"/>
              <a:gd name="connsiteX47" fmla="*/ 1139934 w 6756400"/>
              <a:gd name="connsiteY47" fmla="*/ 6314753 h 6858000"/>
              <a:gd name="connsiteX48" fmla="*/ 581180 w 6756400"/>
              <a:gd name="connsiteY48" fmla="*/ 5889745 h 6858000"/>
              <a:gd name="connsiteX49" fmla="*/ 1014259 w 6756400"/>
              <a:gd name="connsiteY49" fmla="*/ 5553356 h 6858000"/>
              <a:gd name="connsiteX50" fmla="*/ 987135 w 6756400"/>
              <a:gd name="connsiteY50" fmla="*/ 5548835 h 6858000"/>
              <a:gd name="connsiteX51" fmla="*/ 577563 w 6756400"/>
              <a:gd name="connsiteY51" fmla="*/ 5866234 h 6858000"/>
              <a:gd name="connsiteX52" fmla="*/ 577563 w 6756400"/>
              <a:gd name="connsiteY52" fmla="*/ 5335426 h 6858000"/>
              <a:gd name="connsiteX53" fmla="*/ 1132700 w 6756400"/>
              <a:gd name="connsiteY53" fmla="*/ 4905897 h 6858000"/>
              <a:gd name="connsiteX54" fmla="*/ 1132700 w 6756400"/>
              <a:gd name="connsiteY54" fmla="*/ 5435801 h 6858000"/>
              <a:gd name="connsiteX55" fmla="*/ 988039 w 6756400"/>
              <a:gd name="connsiteY55" fmla="*/ 5547930 h 6858000"/>
              <a:gd name="connsiteX56" fmla="*/ 1015163 w 6756400"/>
              <a:gd name="connsiteY56" fmla="*/ 5552452 h 6858000"/>
              <a:gd name="connsiteX57" fmla="*/ 1139029 w 6756400"/>
              <a:gd name="connsiteY57" fmla="*/ 5456599 h 6858000"/>
              <a:gd name="connsiteX58" fmla="*/ 1342459 w 6756400"/>
              <a:gd name="connsiteY58" fmla="*/ 5611229 h 6858000"/>
              <a:gd name="connsiteX59" fmla="*/ 1384953 w 6756400"/>
              <a:gd name="connsiteY59" fmla="*/ 5619368 h 6858000"/>
              <a:gd name="connsiteX60" fmla="*/ 1152591 w 6756400"/>
              <a:gd name="connsiteY60" fmla="*/ 5442131 h 6858000"/>
              <a:gd name="connsiteX61" fmla="*/ 1152591 w 6756400"/>
              <a:gd name="connsiteY61" fmla="*/ 4897759 h 6858000"/>
              <a:gd name="connsiteX62" fmla="*/ 1570300 w 6756400"/>
              <a:gd name="connsiteY62" fmla="*/ 4573125 h 6858000"/>
              <a:gd name="connsiteX63" fmla="*/ 1560355 w 6756400"/>
              <a:gd name="connsiteY63" fmla="*/ 4555944 h 6858000"/>
              <a:gd name="connsiteX64" fmla="*/ 1571205 w 6756400"/>
              <a:gd name="connsiteY64" fmla="*/ 4573125 h 6858000"/>
              <a:gd name="connsiteX65" fmla="*/ 1709537 w 6756400"/>
              <a:gd name="connsiteY65" fmla="*/ 4465517 h 6858000"/>
              <a:gd name="connsiteX66" fmla="*/ 2290894 w 6756400"/>
              <a:gd name="connsiteY66" fmla="*/ 4907706 h 6858000"/>
              <a:gd name="connsiteX67" fmla="*/ 2874963 w 6756400"/>
              <a:gd name="connsiteY67" fmla="*/ 4453761 h 6858000"/>
              <a:gd name="connsiteX68" fmla="*/ 2874963 w 6756400"/>
              <a:gd name="connsiteY68" fmla="*/ 4272907 h 6858000"/>
              <a:gd name="connsiteX69" fmla="*/ 2855072 w 6756400"/>
              <a:gd name="connsiteY69" fmla="*/ 4281949 h 6858000"/>
              <a:gd name="connsiteX70" fmla="*/ 2855072 w 6756400"/>
              <a:gd name="connsiteY70" fmla="*/ 4443814 h 6858000"/>
              <a:gd name="connsiteX71" fmla="*/ 2300839 w 6756400"/>
              <a:gd name="connsiteY71" fmla="*/ 4874248 h 6858000"/>
              <a:gd name="connsiteX72" fmla="*/ 2300839 w 6756400"/>
              <a:gd name="connsiteY72" fmla="*/ 4343440 h 6858000"/>
              <a:gd name="connsiteX73" fmla="*/ 2855072 w 6756400"/>
              <a:gd name="connsiteY73" fmla="*/ 3913006 h 6858000"/>
              <a:gd name="connsiteX74" fmla="*/ 2855072 w 6756400"/>
              <a:gd name="connsiteY74" fmla="*/ 4281045 h 6858000"/>
              <a:gd name="connsiteX75" fmla="*/ 2874963 w 6756400"/>
              <a:gd name="connsiteY75" fmla="*/ 4272002 h 6858000"/>
              <a:gd name="connsiteX76" fmla="*/ 2874963 w 6756400"/>
              <a:gd name="connsiteY76" fmla="*/ 3887687 h 6858000"/>
              <a:gd name="connsiteX77" fmla="*/ 2675150 w 6756400"/>
              <a:gd name="connsiteY77" fmla="*/ 3735769 h 6858000"/>
              <a:gd name="connsiteX78" fmla="*/ 2654355 w 6756400"/>
              <a:gd name="connsiteY78" fmla="*/ 3744812 h 6858000"/>
              <a:gd name="connsiteX79" fmla="*/ 2848743 w 6756400"/>
              <a:gd name="connsiteY79" fmla="*/ 3892208 h 6858000"/>
              <a:gd name="connsiteX80" fmla="*/ 2290894 w 6756400"/>
              <a:gd name="connsiteY80" fmla="*/ 4325354 h 6858000"/>
              <a:gd name="connsiteX81" fmla="*/ 1731236 w 6756400"/>
              <a:gd name="connsiteY81" fmla="*/ 3900346 h 6858000"/>
              <a:gd name="connsiteX82" fmla="*/ 2289086 w 6756400"/>
              <a:gd name="connsiteY82" fmla="*/ 3467200 h 6858000"/>
              <a:gd name="connsiteX83" fmla="*/ 2653451 w 6756400"/>
              <a:gd name="connsiteY83" fmla="*/ 3743907 h 6858000"/>
              <a:gd name="connsiteX84" fmla="*/ 2674246 w 6756400"/>
              <a:gd name="connsiteY84" fmla="*/ 3734865 h 6858000"/>
              <a:gd name="connsiteX85" fmla="*/ 2303552 w 6756400"/>
              <a:gd name="connsiteY85" fmla="*/ 3452732 h 6858000"/>
              <a:gd name="connsiteX86" fmla="*/ 2303552 w 6756400"/>
              <a:gd name="connsiteY86" fmla="*/ 3177833 h 6858000"/>
              <a:gd name="connsiteX87" fmla="*/ 2282757 w 6756400"/>
              <a:gd name="connsiteY87" fmla="*/ 3180546 h 6858000"/>
              <a:gd name="connsiteX88" fmla="*/ 2282757 w 6756400"/>
              <a:gd name="connsiteY88" fmla="*/ 3443689 h 6858000"/>
              <a:gd name="connsiteX89" fmla="*/ 1728524 w 6756400"/>
              <a:gd name="connsiteY89" fmla="*/ 3874123 h 6858000"/>
              <a:gd name="connsiteX90" fmla="*/ 1728524 w 6756400"/>
              <a:gd name="connsiteY90" fmla="*/ 3342411 h 6858000"/>
              <a:gd name="connsiteX91" fmla="*/ 1989818 w 6756400"/>
              <a:gd name="connsiteY91" fmla="*/ 3140758 h 6858000"/>
              <a:gd name="connsiteX92" fmla="*/ 1978064 w 6756400"/>
              <a:gd name="connsiteY92" fmla="*/ 3124481 h 6858000"/>
              <a:gd name="connsiteX93" fmla="*/ 1718578 w 6756400"/>
              <a:gd name="connsiteY93" fmla="*/ 3325229 h 6858000"/>
              <a:gd name="connsiteX94" fmla="*/ 1158920 w 6756400"/>
              <a:gd name="connsiteY94" fmla="*/ 2899317 h 6858000"/>
              <a:gd name="connsiteX95" fmla="*/ 1579342 w 6756400"/>
              <a:gd name="connsiteY95" fmla="*/ 2573779 h 6858000"/>
              <a:gd name="connsiteX96" fmla="*/ 1567588 w 6756400"/>
              <a:gd name="connsiteY96" fmla="*/ 2557502 h 6858000"/>
              <a:gd name="connsiteX97" fmla="*/ 1149879 w 6756400"/>
              <a:gd name="connsiteY97" fmla="*/ 2881232 h 6858000"/>
              <a:gd name="connsiteX98" fmla="*/ 1149879 w 6756400"/>
              <a:gd name="connsiteY98" fmla="*/ 2350424 h 6858000"/>
              <a:gd name="connsiteX99" fmla="*/ 1321664 w 6756400"/>
              <a:gd name="connsiteY99" fmla="*/ 2216592 h 6858000"/>
              <a:gd name="connsiteX100" fmla="*/ 1309910 w 6756400"/>
              <a:gd name="connsiteY100" fmla="*/ 2201219 h 6858000"/>
              <a:gd name="connsiteX101" fmla="*/ 1139934 w 6756400"/>
              <a:gd name="connsiteY101" fmla="*/ 2332339 h 6858000"/>
              <a:gd name="connsiteX102" fmla="*/ 580276 w 6756400"/>
              <a:gd name="connsiteY102" fmla="*/ 1907331 h 6858000"/>
              <a:gd name="connsiteX103" fmla="*/ 1138125 w 6756400"/>
              <a:gd name="connsiteY103" fmla="*/ 1474184 h 6858000"/>
              <a:gd name="connsiteX104" fmla="*/ 1697783 w 6756400"/>
              <a:gd name="connsiteY104" fmla="*/ 1899192 h 6858000"/>
              <a:gd name="connsiteX105" fmla="*/ 1310815 w 6756400"/>
              <a:gd name="connsiteY105" fmla="*/ 2200315 h 6858000"/>
              <a:gd name="connsiteX106" fmla="*/ 1322568 w 6756400"/>
              <a:gd name="connsiteY106" fmla="*/ 2216592 h 6858000"/>
              <a:gd name="connsiteX107" fmla="*/ 1704112 w 6756400"/>
              <a:gd name="connsiteY107" fmla="*/ 1919991 h 6858000"/>
              <a:gd name="connsiteX108" fmla="*/ 1704112 w 6756400"/>
              <a:gd name="connsiteY108" fmla="*/ 2450798 h 6858000"/>
              <a:gd name="connsiteX109" fmla="*/ 1568492 w 6756400"/>
              <a:gd name="connsiteY109" fmla="*/ 2556598 h 6858000"/>
              <a:gd name="connsiteX110" fmla="*/ 1580246 w 6756400"/>
              <a:gd name="connsiteY110" fmla="*/ 2572875 h 6858000"/>
              <a:gd name="connsiteX111" fmla="*/ 1709537 w 6756400"/>
              <a:gd name="connsiteY111" fmla="*/ 2472501 h 6858000"/>
              <a:gd name="connsiteX112" fmla="*/ 2269195 w 6756400"/>
              <a:gd name="connsiteY112" fmla="*/ 2898413 h 6858000"/>
              <a:gd name="connsiteX113" fmla="*/ 1978968 w 6756400"/>
              <a:gd name="connsiteY113" fmla="*/ 3123577 h 6858000"/>
              <a:gd name="connsiteX114" fmla="*/ 1990722 w 6756400"/>
              <a:gd name="connsiteY114" fmla="*/ 3139854 h 6858000"/>
              <a:gd name="connsiteX115" fmla="*/ 2282757 w 6756400"/>
              <a:gd name="connsiteY115" fmla="*/ 2912881 h 6858000"/>
              <a:gd name="connsiteX116" fmla="*/ 2282757 w 6756400"/>
              <a:gd name="connsiteY116" fmla="*/ 3179642 h 6858000"/>
              <a:gd name="connsiteX117" fmla="*/ 2303552 w 6756400"/>
              <a:gd name="connsiteY117" fmla="*/ 3176929 h 6858000"/>
              <a:gd name="connsiteX118" fmla="*/ 2303552 w 6756400"/>
              <a:gd name="connsiteY118" fmla="*/ 2904743 h 6858000"/>
              <a:gd name="connsiteX119" fmla="*/ 2327963 w 6756400"/>
              <a:gd name="connsiteY119" fmla="*/ 2885753 h 6858000"/>
              <a:gd name="connsiteX120" fmla="*/ 2327963 w 6756400"/>
              <a:gd name="connsiteY120" fmla="*/ 2860433 h 6858000"/>
              <a:gd name="connsiteX121" fmla="*/ 2300839 w 6756400"/>
              <a:gd name="connsiteY121" fmla="*/ 2881232 h 6858000"/>
              <a:gd name="connsiteX122" fmla="*/ 2300839 w 6756400"/>
              <a:gd name="connsiteY122" fmla="*/ 2350424 h 6858000"/>
              <a:gd name="connsiteX123" fmla="*/ 2327963 w 6756400"/>
              <a:gd name="connsiteY123" fmla="*/ 2328721 h 6858000"/>
              <a:gd name="connsiteX124" fmla="*/ 2327963 w 6756400"/>
              <a:gd name="connsiteY124" fmla="*/ 2303402 h 6858000"/>
              <a:gd name="connsiteX125" fmla="*/ 2290894 w 6756400"/>
              <a:gd name="connsiteY125" fmla="*/ 2332339 h 6858000"/>
              <a:gd name="connsiteX126" fmla="*/ 1731236 w 6756400"/>
              <a:gd name="connsiteY126" fmla="*/ 1907331 h 6858000"/>
              <a:gd name="connsiteX127" fmla="*/ 2289086 w 6756400"/>
              <a:gd name="connsiteY127" fmla="*/ 1474184 h 6858000"/>
              <a:gd name="connsiteX128" fmla="*/ 2848743 w 6756400"/>
              <a:gd name="connsiteY128" fmla="*/ 1899192 h 6858000"/>
              <a:gd name="connsiteX129" fmla="*/ 2328867 w 6756400"/>
              <a:gd name="connsiteY129" fmla="*/ 2302498 h 6858000"/>
              <a:gd name="connsiteX130" fmla="*/ 2328867 w 6756400"/>
              <a:gd name="connsiteY130" fmla="*/ 2327817 h 6858000"/>
              <a:gd name="connsiteX131" fmla="*/ 2855072 w 6756400"/>
              <a:gd name="connsiteY131" fmla="*/ 1919991 h 6858000"/>
              <a:gd name="connsiteX132" fmla="*/ 2855072 w 6756400"/>
              <a:gd name="connsiteY132" fmla="*/ 2450798 h 6858000"/>
              <a:gd name="connsiteX133" fmla="*/ 2328867 w 6756400"/>
              <a:gd name="connsiteY133" fmla="*/ 2859529 h 6858000"/>
              <a:gd name="connsiteX134" fmla="*/ 2328867 w 6756400"/>
              <a:gd name="connsiteY134" fmla="*/ 2884849 h 6858000"/>
              <a:gd name="connsiteX135" fmla="*/ 2874963 w 6756400"/>
              <a:gd name="connsiteY135" fmla="*/ 2460745 h 6858000"/>
              <a:gd name="connsiteX136" fmla="*/ 2874963 w 6756400"/>
              <a:gd name="connsiteY136" fmla="*/ 1894671 h 6858000"/>
              <a:gd name="connsiteX137" fmla="*/ 2303552 w 6756400"/>
              <a:gd name="connsiteY137" fmla="*/ 1459716 h 6858000"/>
              <a:gd name="connsiteX138" fmla="*/ 2303552 w 6756400"/>
              <a:gd name="connsiteY138" fmla="*/ 926195 h 6858000"/>
              <a:gd name="connsiteX139" fmla="*/ 2282757 w 6756400"/>
              <a:gd name="connsiteY139" fmla="*/ 941568 h 6858000"/>
              <a:gd name="connsiteX140" fmla="*/ 2282757 w 6756400"/>
              <a:gd name="connsiteY140" fmla="*/ 1451578 h 6858000"/>
              <a:gd name="connsiteX141" fmla="*/ 1728524 w 6756400"/>
              <a:gd name="connsiteY141" fmla="*/ 1882011 h 6858000"/>
              <a:gd name="connsiteX142" fmla="*/ 1728524 w 6756400"/>
              <a:gd name="connsiteY142" fmla="*/ 1351203 h 6858000"/>
              <a:gd name="connsiteX143" fmla="*/ 2282757 w 6756400"/>
              <a:gd name="connsiteY143" fmla="*/ 920770 h 6858000"/>
              <a:gd name="connsiteX144" fmla="*/ 2282757 w 6756400"/>
              <a:gd name="connsiteY144" fmla="*/ 940664 h 6858000"/>
              <a:gd name="connsiteX145" fmla="*/ 2303552 w 6756400"/>
              <a:gd name="connsiteY145" fmla="*/ 924387 h 6858000"/>
              <a:gd name="connsiteX146" fmla="*/ 2303552 w 6756400"/>
              <a:gd name="connsiteY146" fmla="*/ 895450 h 6858000"/>
              <a:gd name="connsiteX147" fmla="*/ 1749319 w 6756400"/>
              <a:gd name="connsiteY147" fmla="*/ 474059 h 6858000"/>
              <a:gd name="connsiteX148" fmla="*/ 1733044 w 6756400"/>
              <a:gd name="connsiteY148" fmla="*/ 486719 h 6858000"/>
              <a:gd name="connsiteX149" fmla="*/ 2276428 w 6756400"/>
              <a:gd name="connsiteY149" fmla="*/ 899971 h 6858000"/>
              <a:gd name="connsiteX150" fmla="*/ 1718578 w 6756400"/>
              <a:gd name="connsiteY150" fmla="*/ 1333118 h 6858000"/>
              <a:gd name="connsiteX151" fmla="*/ 1158920 w 6756400"/>
              <a:gd name="connsiteY151" fmla="*/ 908110 h 6858000"/>
              <a:gd name="connsiteX152" fmla="*/ 1716770 w 6756400"/>
              <a:gd name="connsiteY152" fmla="*/ 474964 h 6858000"/>
              <a:gd name="connsiteX153" fmla="*/ 1732140 w 6756400"/>
              <a:gd name="connsiteY153" fmla="*/ 486719 h 6858000"/>
              <a:gd name="connsiteX154" fmla="*/ 1748415 w 6756400"/>
              <a:gd name="connsiteY154" fmla="*/ 474059 h 6858000"/>
              <a:gd name="connsiteX155" fmla="*/ 1724907 w 6756400"/>
              <a:gd name="connsiteY155" fmla="*/ 455070 h 6858000"/>
              <a:gd name="connsiteX156" fmla="*/ 1724907 w 6756400"/>
              <a:gd name="connsiteY156" fmla="*/ 206 h 6858000"/>
              <a:gd name="connsiteX157" fmla="*/ 1606490 w 6756400"/>
              <a:gd name="connsiteY157" fmla="*/ 0 h 6858000"/>
              <a:gd name="connsiteX158" fmla="*/ 1704112 w 6756400"/>
              <a:gd name="connsiteY158" fmla="*/ 0 h 6858000"/>
              <a:gd name="connsiteX159" fmla="*/ 1704112 w 6756400"/>
              <a:gd name="connsiteY159" fmla="*/ 79700 h 6858000"/>
              <a:gd name="connsiteX160" fmla="*/ 1704112 w 6756400"/>
              <a:gd name="connsiteY160" fmla="*/ 455974 h 6858000"/>
              <a:gd name="connsiteX161" fmla="*/ 1149879 w 6756400"/>
              <a:gd name="connsiteY161" fmla="*/ 885503 h 6858000"/>
              <a:gd name="connsiteX162" fmla="*/ 1149879 w 6756400"/>
              <a:gd name="connsiteY162" fmla="*/ 354695 h 6858000"/>
              <a:gd name="connsiteX163" fmla="*/ 1606476 w 6756400"/>
              <a:gd name="connsiteY163" fmla="*/ 11 h 6858000"/>
              <a:gd name="connsiteX164" fmla="*/ 696284 w 6756400"/>
              <a:gd name="connsiteY164" fmla="*/ 0 h 6858000"/>
              <a:gd name="connsiteX165" fmla="*/ 1573942 w 6756400"/>
              <a:gd name="connsiteY165" fmla="*/ 0 h 6858000"/>
              <a:gd name="connsiteX166" fmla="*/ 1498270 w 6756400"/>
              <a:gd name="connsiteY166" fmla="*/ 58848 h 6858000"/>
              <a:gd name="connsiteX167" fmla="*/ 1139934 w 6756400"/>
              <a:gd name="connsiteY167" fmla="*/ 337514 h 6858000"/>
              <a:gd name="connsiteX168" fmla="*/ 701161 w 6756400"/>
              <a:gd name="connsiteY168" fmla="*/ 371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Lst>
            <a:rect l="l" t="t" r="r" b="b"/>
            <a:pathLst>
              <a:path w="6756400" h="6858000">
                <a:moveTo>
                  <a:pt x="558577" y="2472501"/>
                </a:moveTo>
                <a:cubicBezTo>
                  <a:pt x="1118234" y="2898413"/>
                  <a:pt x="1118234" y="2898413"/>
                  <a:pt x="1118234" y="2898413"/>
                </a:cubicBezTo>
                <a:cubicBezTo>
                  <a:pt x="754773" y="3179642"/>
                  <a:pt x="754773" y="3179642"/>
                  <a:pt x="754773" y="3179642"/>
                </a:cubicBezTo>
                <a:cubicBezTo>
                  <a:pt x="765623" y="3197727"/>
                  <a:pt x="765623" y="3197727"/>
                  <a:pt x="765623" y="3197727"/>
                </a:cubicBezTo>
                <a:cubicBezTo>
                  <a:pt x="1132700" y="2912881"/>
                  <a:pt x="1132700" y="2912881"/>
                  <a:pt x="1132700" y="2912881"/>
                </a:cubicBezTo>
                <a:cubicBezTo>
                  <a:pt x="1132700" y="3443689"/>
                  <a:pt x="1132700" y="3443689"/>
                  <a:pt x="1132700" y="3443689"/>
                </a:cubicBezTo>
                <a:cubicBezTo>
                  <a:pt x="978998" y="3562149"/>
                  <a:pt x="978998" y="3562149"/>
                  <a:pt x="978998" y="3562149"/>
                </a:cubicBezTo>
                <a:cubicBezTo>
                  <a:pt x="990752" y="3582043"/>
                  <a:pt x="990752" y="3582043"/>
                  <a:pt x="990752" y="3582043"/>
                </a:cubicBezTo>
                <a:cubicBezTo>
                  <a:pt x="1138125" y="3467200"/>
                  <a:pt x="1138125" y="3467200"/>
                  <a:pt x="1138125" y="3467200"/>
                </a:cubicBezTo>
                <a:cubicBezTo>
                  <a:pt x="1697783" y="3892208"/>
                  <a:pt x="1697783" y="3892208"/>
                  <a:pt x="1697783" y="3892208"/>
                </a:cubicBezTo>
                <a:cubicBezTo>
                  <a:pt x="1337034" y="4172532"/>
                  <a:pt x="1337034" y="4172532"/>
                  <a:pt x="1337034" y="4172532"/>
                </a:cubicBezTo>
                <a:cubicBezTo>
                  <a:pt x="1346980" y="4190618"/>
                  <a:pt x="1346980" y="4190618"/>
                  <a:pt x="1346980" y="4190618"/>
                </a:cubicBezTo>
                <a:cubicBezTo>
                  <a:pt x="1704112" y="3913006"/>
                  <a:pt x="1704112" y="3913006"/>
                  <a:pt x="1704112" y="3913006"/>
                </a:cubicBezTo>
                <a:cubicBezTo>
                  <a:pt x="1704112" y="4443814"/>
                  <a:pt x="1704112" y="4443814"/>
                  <a:pt x="1704112" y="4443814"/>
                </a:cubicBezTo>
                <a:cubicBezTo>
                  <a:pt x="1560355" y="4555944"/>
                  <a:pt x="1560355" y="4555944"/>
                  <a:pt x="1560355" y="4555944"/>
                </a:cubicBezTo>
                <a:cubicBezTo>
                  <a:pt x="1149879" y="4874248"/>
                  <a:pt x="1149879" y="4874248"/>
                  <a:pt x="1149879" y="4874248"/>
                </a:cubicBezTo>
                <a:cubicBezTo>
                  <a:pt x="1149879" y="4343440"/>
                  <a:pt x="1149879" y="4343440"/>
                  <a:pt x="1149879" y="4343440"/>
                </a:cubicBezTo>
                <a:cubicBezTo>
                  <a:pt x="1346076" y="4190618"/>
                  <a:pt x="1346076" y="4190618"/>
                  <a:pt x="1346076" y="4190618"/>
                </a:cubicBezTo>
                <a:cubicBezTo>
                  <a:pt x="1336130" y="4173437"/>
                  <a:pt x="1336130" y="4173437"/>
                  <a:pt x="1336130" y="4173437"/>
                </a:cubicBezTo>
                <a:cubicBezTo>
                  <a:pt x="1139934" y="4325354"/>
                  <a:pt x="1139934" y="4325354"/>
                  <a:pt x="1139934" y="4325354"/>
                </a:cubicBezTo>
                <a:cubicBezTo>
                  <a:pt x="580276" y="3900346"/>
                  <a:pt x="580276" y="3900346"/>
                  <a:pt x="580276" y="3900346"/>
                </a:cubicBezTo>
                <a:cubicBezTo>
                  <a:pt x="989848" y="3582043"/>
                  <a:pt x="989848" y="3582043"/>
                  <a:pt x="989848" y="3582043"/>
                </a:cubicBezTo>
                <a:cubicBezTo>
                  <a:pt x="978094" y="3563053"/>
                  <a:pt x="978094" y="3563053"/>
                  <a:pt x="978094" y="3563053"/>
                </a:cubicBezTo>
                <a:cubicBezTo>
                  <a:pt x="577563" y="3874123"/>
                  <a:pt x="577563" y="3874123"/>
                  <a:pt x="577563" y="3874123"/>
                </a:cubicBezTo>
                <a:cubicBezTo>
                  <a:pt x="577563" y="3342411"/>
                  <a:pt x="577563" y="3342411"/>
                  <a:pt x="577563" y="3342411"/>
                </a:cubicBezTo>
                <a:cubicBezTo>
                  <a:pt x="764719" y="3197727"/>
                  <a:pt x="764719" y="3197727"/>
                  <a:pt x="764719" y="3197727"/>
                </a:cubicBezTo>
                <a:cubicBezTo>
                  <a:pt x="754773" y="3180546"/>
                  <a:pt x="754773" y="3180546"/>
                  <a:pt x="754773" y="3180546"/>
                </a:cubicBezTo>
                <a:cubicBezTo>
                  <a:pt x="567618" y="3325229"/>
                  <a:pt x="567618" y="3325229"/>
                  <a:pt x="567618" y="3325229"/>
                </a:cubicBezTo>
                <a:cubicBezTo>
                  <a:pt x="7960" y="2899317"/>
                  <a:pt x="7960" y="2899317"/>
                  <a:pt x="7960" y="2899317"/>
                </a:cubicBezTo>
                <a:cubicBezTo>
                  <a:pt x="558577" y="2472501"/>
                  <a:pt x="558577" y="2472501"/>
                  <a:pt x="558577" y="2472501"/>
                </a:cubicBezTo>
                <a:close/>
                <a:moveTo>
                  <a:pt x="1724907" y="0"/>
                </a:moveTo>
                <a:lnTo>
                  <a:pt x="6756400" y="0"/>
                </a:lnTo>
                <a:lnTo>
                  <a:pt x="6756400" y="6858000"/>
                </a:lnTo>
                <a:lnTo>
                  <a:pt x="0" y="6858000"/>
                </a:lnTo>
                <a:lnTo>
                  <a:pt x="0" y="6856412"/>
                </a:lnTo>
                <a:lnTo>
                  <a:pt x="162738" y="6856412"/>
                </a:lnTo>
                <a:cubicBezTo>
                  <a:pt x="1149879" y="6856412"/>
                  <a:pt x="1149879" y="6856412"/>
                  <a:pt x="1149879" y="6856412"/>
                </a:cubicBezTo>
                <a:cubicBezTo>
                  <a:pt x="1149879" y="6332839"/>
                  <a:pt x="1149879" y="6332839"/>
                  <a:pt x="1149879" y="6332839"/>
                </a:cubicBezTo>
                <a:cubicBezTo>
                  <a:pt x="1704112" y="5902405"/>
                  <a:pt x="1704112" y="5902405"/>
                  <a:pt x="1704112" y="5902405"/>
                </a:cubicBezTo>
                <a:cubicBezTo>
                  <a:pt x="1704112" y="6433213"/>
                  <a:pt x="1704112" y="6433213"/>
                  <a:pt x="1704112" y="6433213"/>
                </a:cubicBezTo>
                <a:cubicBezTo>
                  <a:pt x="1159824" y="6855508"/>
                  <a:pt x="1159824" y="6855508"/>
                  <a:pt x="1159824" y="6855508"/>
                </a:cubicBezTo>
                <a:cubicBezTo>
                  <a:pt x="1193277" y="6855508"/>
                  <a:pt x="1193277" y="6855508"/>
                  <a:pt x="1193277" y="6855508"/>
                </a:cubicBezTo>
                <a:cubicBezTo>
                  <a:pt x="1724907" y="6443160"/>
                  <a:pt x="1724907" y="6443160"/>
                  <a:pt x="1724907" y="6443160"/>
                </a:cubicBezTo>
                <a:cubicBezTo>
                  <a:pt x="1724907" y="5877086"/>
                  <a:pt x="1724907" y="5877086"/>
                  <a:pt x="1724907" y="5877086"/>
                </a:cubicBezTo>
                <a:cubicBezTo>
                  <a:pt x="1386762" y="5620272"/>
                  <a:pt x="1386762" y="5620272"/>
                  <a:pt x="1386762" y="5620272"/>
                </a:cubicBezTo>
                <a:cubicBezTo>
                  <a:pt x="1372296" y="5617559"/>
                  <a:pt x="1357829" y="5614847"/>
                  <a:pt x="1343363" y="5612134"/>
                </a:cubicBezTo>
                <a:cubicBezTo>
                  <a:pt x="1697783" y="5881607"/>
                  <a:pt x="1697783" y="5881607"/>
                  <a:pt x="1697783" y="5881607"/>
                </a:cubicBezTo>
                <a:cubicBezTo>
                  <a:pt x="1139934" y="6314753"/>
                  <a:pt x="1139934" y="6314753"/>
                  <a:pt x="1139934" y="6314753"/>
                </a:cubicBezTo>
                <a:cubicBezTo>
                  <a:pt x="581180" y="5889745"/>
                  <a:pt x="581180" y="5889745"/>
                  <a:pt x="581180" y="5889745"/>
                </a:cubicBezTo>
                <a:cubicBezTo>
                  <a:pt x="1014259" y="5553356"/>
                  <a:pt x="1014259" y="5553356"/>
                  <a:pt x="1014259" y="5553356"/>
                </a:cubicBezTo>
                <a:cubicBezTo>
                  <a:pt x="1005218" y="5551548"/>
                  <a:pt x="995272" y="5549739"/>
                  <a:pt x="987135" y="5548835"/>
                </a:cubicBezTo>
                <a:cubicBezTo>
                  <a:pt x="577563" y="5866234"/>
                  <a:pt x="577563" y="5866234"/>
                  <a:pt x="577563" y="5866234"/>
                </a:cubicBezTo>
                <a:cubicBezTo>
                  <a:pt x="577563" y="5335426"/>
                  <a:pt x="577563" y="5335426"/>
                  <a:pt x="577563" y="5335426"/>
                </a:cubicBezTo>
                <a:cubicBezTo>
                  <a:pt x="1132700" y="4905897"/>
                  <a:pt x="1132700" y="4905897"/>
                  <a:pt x="1132700" y="4905897"/>
                </a:cubicBezTo>
                <a:cubicBezTo>
                  <a:pt x="1132700" y="5435801"/>
                  <a:pt x="1132700" y="5435801"/>
                  <a:pt x="1132700" y="5435801"/>
                </a:cubicBezTo>
                <a:cubicBezTo>
                  <a:pt x="988039" y="5547930"/>
                  <a:pt x="988039" y="5547930"/>
                  <a:pt x="988039" y="5547930"/>
                </a:cubicBezTo>
                <a:cubicBezTo>
                  <a:pt x="997081" y="5549739"/>
                  <a:pt x="1006122" y="5550643"/>
                  <a:pt x="1015163" y="5552452"/>
                </a:cubicBezTo>
                <a:cubicBezTo>
                  <a:pt x="1139029" y="5456599"/>
                  <a:pt x="1139029" y="5456599"/>
                  <a:pt x="1139029" y="5456599"/>
                </a:cubicBezTo>
                <a:cubicBezTo>
                  <a:pt x="1342459" y="5611229"/>
                  <a:pt x="1342459" y="5611229"/>
                  <a:pt x="1342459" y="5611229"/>
                </a:cubicBezTo>
                <a:cubicBezTo>
                  <a:pt x="1356925" y="5613942"/>
                  <a:pt x="1371391" y="5616655"/>
                  <a:pt x="1384953" y="5619368"/>
                </a:cubicBezTo>
                <a:cubicBezTo>
                  <a:pt x="1152591" y="5442131"/>
                  <a:pt x="1152591" y="5442131"/>
                  <a:pt x="1152591" y="5442131"/>
                </a:cubicBezTo>
                <a:cubicBezTo>
                  <a:pt x="1152591" y="4897759"/>
                  <a:pt x="1152591" y="4897759"/>
                  <a:pt x="1152591" y="4897759"/>
                </a:cubicBezTo>
                <a:cubicBezTo>
                  <a:pt x="1570300" y="4573125"/>
                  <a:pt x="1570300" y="4573125"/>
                  <a:pt x="1570300" y="4573125"/>
                </a:cubicBezTo>
                <a:cubicBezTo>
                  <a:pt x="1560355" y="4555944"/>
                  <a:pt x="1560355" y="4555944"/>
                  <a:pt x="1560355" y="4555944"/>
                </a:cubicBezTo>
                <a:cubicBezTo>
                  <a:pt x="1571205" y="4573125"/>
                  <a:pt x="1571205" y="4573125"/>
                  <a:pt x="1571205" y="4573125"/>
                </a:cubicBezTo>
                <a:cubicBezTo>
                  <a:pt x="1709537" y="4465517"/>
                  <a:pt x="1709537" y="4465517"/>
                  <a:pt x="1709537" y="4465517"/>
                </a:cubicBezTo>
                <a:cubicBezTo>
                  <a:pt x="2290894" y="4907706"/>
                  <a:pt x="2290894" y="4907706"/>
                  <a:pt x="2290894" y="4907706"/>
                </a:cubicBezTo>
                <a:cubicBezTo>
                  <a:pt x="2874963" y="4453761"/>
                  <a:pt x="2874963" y="4453761"/>
                  <a:pt x="2874963" y="4453761"/>
                </a:cubicBezTo>
                <a:cubicBezTo>
                  <a:pt x="2874963" y="4272907"/>
                  <a:pt x="2874963" y="4272907"/>
                  <a:pt x="2874963" y="4272907"/>
                </a:cubicBezTo>
                <a:cubicBezTo>
                  <a:pt x="2855072" y="4281949"/>
                  <a:pt x="2855072" y="4281949"/>
                  <a:pt x="2855072" y="4281949"/>
                </a:cubicBezTo>
                <a:cubicBezTo>
                  <a:pt x="2855072" y="4443814"/>
                  <a:pt x="2855072" y="4443814"/>
                  <a:pt x="2855072" y="4443814"/>
                </a:cubicBezTo>
                <a:cubicBezTo>
                  <a:pt x="2300839" y="4874248"/>
                  <a:pt x="2300839" y="4874248"/>
                  <a:pt x="2300839" y="4874248"/>
                </a:cubicBezTo>
                <a:cubicBezTo>
                  <a:pt x="2300839" y="4343440"/>
                  <a:pt x="2300839" y="4343440"/>
                  <a:pt x="2300839" y="4343440"/>
                </a:cubicBezTo>
                <a:cubicBezTo>
                  <a:pt x="2855072" y="3913006"/>
                  <a:pt x="2855072" y="3913006"/>
                  <a:pt x="2855072" y="3913006"/>
                </a:cubicBezTo>
                <a:cubicBezTo>
                  <a:pt x="2855072" y="4281045"/>
                  <a:pt x="2855072" y="4281045"/>
                  <a:pt x="2855072" y="4281045"/>
                </a:cubicBezTo>
                <a:cubicBezTo>
                  <a:pt x="2874963" y="4272002"/>
                  <a:pt x="2874963" y="4272002"/>
                  <a:pt x="2874963" y="4272002"/>
                </a:cubicBezTo>
                <a:cubicBezTo>
                  <a:pt x="2874963" y="3887687"/>
                  <a:pt x="2874963" y="3887687"/>
                  <a:pt x="2874963" y="3887687"/>
                </a:cubicBezTo>
                <a:cubicBezTo>
                  <a:pt x="2675150" y="3735769"/>
                  <a:pt x="2675150" y="3735769"/>
                  <a:pt x="2675150" y="3735769"/>
                </a:cubicBezTo>
                <a:cubicBezTo>
                  <a:pt x="2654355" y="3744812"/>
                  <a:pt x="2654355" y="3744812"/>
                  <a:pt x="2654355" y="3744812"/>
                </a:cubicBezTo>
                <a:cubicBezTo>
                  <a:pt x="2848743" y="3892208"/>
                  <a:pt x="2848743" y="3892208"/>
                  <a:pt x="2848743" y="3892208"/>
                </a:cubicBezTo>
                <a:cubicBezTo>
                  <a:pt x="2290894" y="4325354"/>
                  <a:pt x="2290894" y="4325354"/>
                  <a:pt x="2290894" y="4325354"/>
                </a:cubicBezTo>
                <a:cubicBezTo>
                  <a:pt x="1731236" y="3900346"/>
                  <a:pt x="1731236" y="3900346"/>
                  <a:pt x="1731236" y="3900346"/>
                </a:cubicBezTo>
                <a:cubicBezTo>
                  <a:pt x="2289086" y="3467200"/>
                  <a:pt x="2289086" y="3467200"/>
                  <a:pt x="2289086" y="3467200"/>
                </a:cubicBezTo>
                <a:cubicBezTo>
                  <a:pt x="2653451" y="3743907"/>
                  <a:pt x="2653451" y="3743907"/>
                  <a:pt x="2653451" y="3743907"/>
                </a:cubicBezTo>
                <a:cubicBezTo>
                  <a:pt x="2674246" y="3734865"/>
                  <a:pt x="2674246" y="3734865"/>
                  <a:pt x="2674246" y="3734865"/>
                </a:cubicBezTo>
                <a:cubicBezTo>
                  <a:pt x="2303552" y="3452732"/>
                  <a:pt x="2303552" y="3452732"/>
                  <a:pt x="2303552" y="3452732"/>
                </a:cubicBezTo>
                <a:cubicBezTo>
                  <a:pt x="2303552" y="3177833"/>
                  <a:pt x="2303552" y="3177833"/>
                  <a:pt x="2303552" y="3177833"/>
                </a:cubicBezTo>
                <a:cubicBezTo>
                  <a:pt x="2282757" y="3180546"/>
                  <a:pt x="2282757" y="3180546"/>
                  <a:pt x="2282757" y="3180546"/>
                </a:cubicBezTo>
                <a:cubicBezTo>
                  <a:pt x="2282757" y="3443689"/>
                  <a:pt x="2282757" y="3443689"/>
                  <a:pt x="2282757" y="3443689"/>
                </a:cubicBezTo>
                <a:cubicBezTo>
                  <a:pt x="1728524" y="3874123"/>
                  <a:pt x="1728524" y="3874123"/>
                  <a:pt x="1728524" y="3874123"/>
                </a:cubicBezTo>
                <a:cubicBezTo>
                  <a:pt x="1728524" y="3342411"/>
                  <a:pt x="1728524" y="3342411"/>
                  <a:pt x="1728524" y="3342411"/>
                </a:cubicBezTo>
                <a:cubicBezTo>
                  <a:pt x="1989818" y="3140758"/>
                  <a:pt x="1989818" y="3140758"/>
                  <a:pt x="1989818" y="3140758"/>
                </a:cubicBezTo>
                <a:cubicBezTo>
                  <a:pt x="1978064" y="3124481"/>
                  <a:pt x="1978064" y="3124481"/>
                  <a:pt x="1978064" y="3124481"/>
                </a:cubicBezTo>
                <a:cubicBezTo>
                  <a:pt x="1718578" y="3325229"/>
                  <a:pt x="1718578" y="3325229"/>
                  <a:pt x="1718578" y="3325229"/>
                </a:cubicBezTo>
                <a:cubicBezTo>
                  <a:pt x="1158920" y="2899317"/>
                  <a:pt x="1158920" y="2899317"/>
                  <a:pt x="1158920" y="2899317"/>
                </a:cubicBezTo>
                <a:cubicBezTo>
                  <a:pt x="1579342" y="2573779"/>
                  <a:pt x="1579342" y="2573779"/>
                  <a:pt x="1579342" y="2573779"/>
                </a:cubicBezTo>
                <a:cubicBezTo>
                  <a:pt x="1567588" y="2557502"/>
                  <a:pt x="1567588" y="2557502"/>
                  <a:pt x="1567588" y="2557502"/>
                </a:cubicBezTo>
                <a:cubicBezTo>
                  <a:pt x="1149879" y="2881232"/>
                  <a:pt x="1149879" y="2881232"/>
                  <a:pt x="1149879" y="2881232"/>
                </a:cubicBezTo>
                <a:cubicBezTo>
                  <a:pt x="1149879" y="2350424"/>
                  <a:pt x="1149879" y="2350424"/>
                  <a:pt x="1149879" y="2350424"/>
                </a:cubicBezTo>
                <a:cubicBezTo>
                  <a:pt x="1321664" y="2216592"/>
                  <a:pt x="1321664" y="2216592"/>
                  <a:pt x="1321664" y="2216592"/>
                </a:cubicBezTo>
                <a:cubicBezTo>
                  <a:pt x="1309910" y="2201219"/>
                  <a:pt x="1309910" y="2201219"/>
                  <a:pt x="1309910" y="2201219"/>
                </a:cubicBezTo>
                <a:cubicBezTo>
                  <a:pt x="1139934" y="2332339"/>
                  <a:pt x="1139934" y="2332339"/>
                  <a:pt x="1139934" y="2332339"/>
                </a:cubicBezTo>
                <a:cubicBezTo>
                  <a:pt x="580276" y="1907331"/>
                  <a:pt x="580276" y="1907331"/>
                  <a:pt x="580276" y="1907331"/>
                </a:cubicBezTo>
                <a:cubicBezTo>
                  <a:pt x="1138125" y="1474184"/>
                  <a:pt x="1138125" y="1474184"/>
                  <a:pt x="1138125" y="1474184"/>
                </a:cubicBezTo>
                <a:cubicBezTo>
                  <a:pt x="1697783" y="1899192"/>
                  <a:pt x="1697783" y="1899192"/>
                  <a:pt x="1697783" y="1899192"/>
                </a:cubicBezTo>
                <a:cubicBezTo>
                  <a:pt x="1310815" y="2200315"/>
                  <a:pt x="1310815" y="2200315"/>
                  <a:pt x="1310815" y="2200315"/>
                </a:cubicBezTo>
                <a:cubicBezTo>
                  <a:pt x="1322568" y="2216592"/>
                  <a:pt x="1322568" y="2216592"/>
                  <a:pt x="1322568" y="2216592"/>
                </a:cubicBezTo>
                <a:cubicBezTo>
                  <a:pt x="1704112" y="1919991"/>
                  <a:pt x="1704112" y="1919991"/>
                  <a:pt x="1704112" y="1919991"/>
                </a:cubicBezTo>
                <a:cubicBezTo>
                  <a:pt x="1704112" y="2450798"/>
                  <a:pt x="1704112" y="2450798"/>
                  <a:pt x="1704112" y="2450798"/>
                </a:cubicBezTo>
                <a:cubicBezTo>
                  <a:pt x="1568492" y="2556598"/>
                  <a:pt x="1568492" y="2556598"/>
                  <a:pt x="1568492" y="2556598"/>
                </a:cubicBezTo>
                <a:cubicBezTo>
                  <a:pt x="1580246" y="2572875"/>
                  <a:pt x="1580246" y="2572875"/>
                  <a:pt x="1580246" y="2572875"/>
                </a:cubicBezTo>
                <a:cubicBezTo>
                  <a:pt x="1709537" y="2472501"/>
                  <a:pt x="1709537" y="2472501"/>
                  <a:pt x="1709537" y="2472501"/>
                </a:cubicBezTo>
                <a:cubicBezTo>
                  <a:pt x="2269195" y="2898413"/>
                  <a:pt x="2269195" y="2898413"/>
                  <a:pt x="2269195" y="2898413"/>
                </a:cubicBezTo>
                <a:cubicBezTo>
                  <a:pt x="1978968" y="3123577"/>
                  <a:pt x="1978968" y="3123577"/>
                  <a:pt x="1978968" y="3123577"/>
                </a:cubicBezTo>
                <a:cubicBezTo>
                  <a:pt x="1990722" y="3139854"/>
                  <a:pt x="1990722" y="3139854"/>
                  <a:pt x="1990722" y="3139854"/>
                </a:cubicBezTo>
                <a:cubicBezTo>
                  <a:pt x="2282757" y="2912881"/>
                  <a:pt x="2282757" y="2912881"/>
                  <a:pt x="2282757" y="2912881"/>
                </a:cubicBezTo>
                <a:cubicBezTo>
                  <a:pt x="2282757" y="3179642"/>
                  <a:pt x="2282757" y="3179642"/>
                  <a:pt x="2282757" y="3179642"/>
                </a:cubicBezTo>
                <a:cubicBezTo>
                  <a:pt x="2303552" y="3176929"/>
                  <a:pt x="2303552" y="3176929"/>
                  <a:pt x="2303552" y="3176929"/>
                </a:cubicBezTo>
                <a:cubicBezTo>
                  <a:pt x="2303552" y="2904743"/>
                  <a:pt x="2303552" y="2904743"/>
                  <a:pt x="2303552" y="2904743"/>
                </a:cubicBezTo>
                <a:cubicBezTo>
                  <a:pt x="2327963" y="2885753"/>
                  <a:pt x="2327963" y="2885753"/>
                  <a:pt x="2327963" y="2885753"/>
                </a:cubicBezTo>
                <a:cubicBezTo>
                  <a:pt x="2327963" y="2860433"/>
                  <a:pt x="2327963" y="2860433"/>
                  <a:pt x="2327963" y="2860433"/>
                </a:cubicBezTo>
                <a:cubicBezTo>
                  <a:pt x="2300839" y="2881232"/>
                  <a:pt x="2300839" y="2881232"/>
                  <a:pt x="2300839" y="2881232"/>
                </a:cubicBezTo>
                <a:cubicBezTo>
                  <a:pt x="2300839" y="2350424"/>
                  <a:pt x="2300839" y="2350424"/>
                  <a:pt x="2300839" y="2350424"/>
                </a:cubicBezTo>
                <a:cubicBezTo>
                  <a:pt x="2327963" y="2328721"/>
                  <a:pt x="2327963" y="2328721"/>
                  <a:pt x="2327963" y="2328721"/>
                </a:cubicBezTo>
                <a:cubicBezTo>
                  <a:pt x="2327963" y="2303402"/>
                  <a:pt x="2327963" y="2303402"/>
                  <a:pt x="2327963" y="2303402"/>
                </a:cubicBezTo>
                <a:cubicBezTo>
                  <a:pt x="2290894" y="2332339"/>
                  <a:pt x="2290894" y="2332339"/>
                  <a:pt x="2290894" y="2332339"/>
                </a:cubicBezTo>
                <a:cubicBezTo>
                  <a:pt x="1731236" y="1907331"/>
                  <a:pt x="1731236" y="1907331"/>
                  <a:pt x="1731236" y="1907331"/>
                </a:cubicBezTo>
                <a:cubicBezTo>
                  <a:pt x="2289086" y="1474184"/>
                  <a:pt x="2289086" y="1474184"/>
                  <a:pt x="2289086" y="1474184"/>
                </a:cubicBezTo>
                <a:cubicBezTo>
                  <a:pt x="2848743" y="1899192"/>
                  <a:pt x="2848743" y="1899192"/>
                  <a:pt x="2848743" y="1899192"/>
                </a:cubicBezTo>
                <a:cubicBezTo>
                  <a:pt x="2328867" y="2302498"/>
                  <a:pt x="2328867" y="2302498"/>
                  <a:pt x="2328867" y="2302498"/>
                </a:cubicBezTo>
                <a:cubicBezTo>
                  <a:pt x="2328867" y="2327817"/>
                  <a:pt x="2328867" y="2327817"/>
                  <a:pt x="2328867" y="2327817"/>
                </a:cubicBezTo>
                <a:cubicBezTo>
                  <a:pt x="2855072" y="1919991"/>
                  <a:pt x="2855072" y="1919991"/>
                  <a:pt x="2855072" y="1919991"/>
                </a:cubicBezTo>
                <a:cubicBezTo>
                  <a:pt x="2855072" y="2450798"/>
                  <a:pt x="2855072" y="2450798"/>
                  <a:pt x="2855072" y="2450798"/>
                </a:cubicBezTo>
                <a:lnTo>
                  <a:pt x="2328867" y="2859529"/>
                </a:lnTo>
                <a:cubicBezTo>
                  <a:pt x="2328867" y="2884849"/>
                  <a:pt x="2328867" y="2884849"/>
                  <a:pt x="2328867" y="2884849"/>
                </a:cubicBezTo>
                <a:cubicBezTo>
                  <a:pt x="2874963" y="2460745"/>
                  <a:pt x="2874963" y="2460745"/>
                  <a:pt x="2874963" y="2460745"/>
                </a:cubicBezTo>
                <a:cubicBezTo>
                  <a:pt x="2874963" y="1894671"/>
                  <a:pt x="2874963" y="1894671"/>
                  <a:pt x="2874963" y="1894671"/>
                </a:cubicBezTo>
                <a:cubicBezTo>
                  <a:pt x="2303552" y="1459716"/>
                  <a:pt x="2303552" y="1459716"/>
                  <a:pt x="2303552" y="1459716"/>
                </a:cubicBezTo>
                <a:cubicBezTo>
                  <a:pt x="2303552" y="926195"/>
                  <a:pt x="2303552" y="926195"/>
                  <a:pt x="2303552" y="926195"/>
                </a:cubicBezTo>
                <a:cubicBezTo>
                  <a:pt x="2282757" y="941568"/>
                  <a:pt x="2282757" y="941568"/>
                  <a:pt x="2282757" y="941568"/>
                </a:cubicBezTo>
                <a:cubicBezTo>
                  <a:pt x="2282757" y="1451578"/>
                  <a:pt x="2282757" y="1451578"/>
                  <a:pt x="2282757" y="1451578"/>
                </a:cubicBezTo>
                <a:cubicBezTo>
                  <a:pt x="1728524" y="1882011"/>
                  <a:pt x="1728524" y="1882011"/>
                  <a:pt x="1728524" y="1882011"/>
                </a:cubicBezTo>
                <a:cubicBezTo>
                  <a:pt x="1728524" y="1351203"/>
                  <a:pt x="1728524" y="1351203"/>
                  <a:pt x="1728524" y="1351203"/>
                </a:cubicBezTo>
                <a:cubicBezTo>
                  <a:pt x="2282757" y="920770"/>
                  <a:pt x="2282757" y="920770"/>
                  <a:pt x="2282757" y="920770"/>
                </a:cubicBezTo>
                <a:cubicBezTo>
                  <a:pt x="2282757" y="940664"/>
                  <a:pt x="2282757" y="940664"/>
                  <a:pt x="2282757" y="940664"/>
                </a:cubicBezTo>
                <a:cubicBezTo>
                  <a:pt x="2303552" y="924387"/>
                  <a:pt x="2303552" y="924387"/>
                  <a:pt x="2303552" y="924387"/>
                </a:cubicBezTo>
                <a:cubicBezTo>
                  <a:pt x="2303552" y="895450"/>
                  <a:pt x="2303552" y="895450"/>
                  <a:pt x="2303552" y="895450"/>
                </a:cubicBezTo>
                <a:cubicBezTo>
                  <a:pt x="1749319" y="474059"/>
                  <a:pt x="1749319" y="474059"/>
                  <a:pt x="1749319" y="474059"/>
                </a:cubicBezTo>
                <a:cubicBezTo>
                  <a:pt x="1733044" y="486719"/>
                  <a:pt x="1733044" y="486719"/>
                  <a:pt x="1733044" y="486719"/>
                </a:cubicBezTo>
                <a:cubicBezTo>
                  <a:pt x="2276428" y="899971"/>
                  <a:pt x="2276428" y="899971"/>
                  <a:pt x="2276428" y="899971"/>
                </a:cubicBezTo>
                <a:cubicBezTo>
                  <a:pt x="1718578" y="1333118"/>
                  <a:pt x="1718578" y="1333118"/>
                  <a:pt x="1718578" y="1333118"/>
                </a:cubicBezTo>
                <a:cubicBezTo>
                  <a:pt x="1158920" y="908110"/>
                  <a:pt x="1158920" y="908110"/>
                  <a:pt x="1158920" y="908110"/>
                </a:cubicBezTo>
                <a:cubicBezTo>
                  <a:pt x="1716770" y="474964"/>
                  <a:pt x="1716770" y="474964"/>
                  <a:pt x="1716770" y="474964"/>
                </a:cubicBezTo>
                <a:cubicBezTo>
                  <a:pt x="1732140" y="486719"/>
                  <a:pt x="1732140" y="486719"/>
                  <a:pt x="1732140" y="486719"/>
                </a:cubicBezTo>
                <a:cubicBezTo>
                  <a:pt x="1748415" y="474059"/>
                  <a:pt x="1748415" y="474059"/>
                  <a:pt x="1748415" y="474059"/>
                </a:cubicBezTo>
                <a:cubicBezTo>
                  <a:pt x="1724907" y="455070"/>
                  <a:pt x="1724907" y="455070"/>
                  <a:pt x="1724907" y="455070"/>
                </a:cubicBezTo>
                <a:cubicBezTo>
                  <a:pt x="1724907" y="56286"/>
                  <a:pt x="1724907" y="6438"/>
                  <a:pt x="1724907" y="206"/>
                </a:cubicBezTo>
                <a:close/>
                <a:moveTo>
                  <a:pt x="1606490" y="0"/>
                </a:moveTo>
                <a:lnTo>
                  <a:pt x="1704112" y="0"/>
                </a:lnTo>
                <a:lnTo>
                  <a:pt x="1704112" y="79700"/>
                </a:lnTo>
                <a:cubicBezTo>
                  <a:pt x="1704112" y="455974"/>
                  <a:pt x="1704112" y="455974"/>
                  <a:pt x="1704112" y="455974"/>
                </a:cubicBezTo>
                <a:cubicBezTo>
                  <a:pt x="1149879" y="885503"/>
                  <a:pt x="1149879" y="885503"/>
                  <a:pt x="1149879" y="885503"/>
                </a:cubicBezTo>
                <a:cubicBezTo>
                  <a:pt x="1149879" y="354695"/>
                  <a:pt x="1149879" y="354695"/>
                  <a:pt x="1149879" y="354695"/>
                </a:cubicBezTo>
                <a:cubicBezTo>
                  <a:pt x="1550183" y="43739"/>
                  <a:pt x="1600221" y="4869"/>
                  <a:pt x="1606476" y="11"/>
                </a:cubicBezTo>
                <a:close/>
                <a:moveTo>
                  <a:pt x="696284" y="0"/>
                </a:moveTo>
                <a:lnTo>
                  <a:pt x="1573942" y="0"/>
                </a:lnTo>
                <a:lnTo>
                  <a:pt x="1498270" y="58848"/>
                </a:lnTo>
                <a:cubicBezTo>
                  <a:pt x="1139934" y="337514"/>
                  <a:pt x="1139934" y="337514"/>
                  <a:pt x="1139934" y="337514"/>
                </a:cubicBezTo>
                <a:cubicBezTo>
                  <a:pt x="805631" y="83188"/>
                  <a:pt x="722055" y="19606"/>
                  <a:pt x="701161" y="3711"/>
                </a:cubicBezTo>
                <a:close/>
              </a:path>
            </a:pathLst>
          </a:custGeom>
          <a:solidFill>
            <a:schemeClr val="bg1">
              <a:lumMod val="65000"/>
            </a:schemeClr>
          </a:solidFill>
        </p:spPr>
        <p:txBody>
          <a:bodyPr wrap="square" tIns="684000" rIns="756000">
            <a:noAutofit/>
          </a:bodyPr>
          <a:lstStyle>
            <a:lvl1pPr algn="r">
              <a:defRPr i="1">
                <a:solidFill>
                  <a:schemeClr val="accent2">
                    <a:lumMod val="40000"/>
                    <a:lumOff val="60000"/>
                  </a:schemeClr>
                </a:solidFill>
              </a:defRPr>
            </a:lvl1pPr>
          </a:lstStyle>
          <a:p>
            <a:r>
              <a:rPr lang="fr-FR" dirty="0"/>
              <a:t>Insérez ou glissez votre image ici</a:t>
            </a:r>
          </a:p>
        </p:txBody>
      </p:sp>
      <p:sp>
        <p:nvSpPr>
          <p:cNvPr id="4" name="Espace réservé du texte 4">
            <a:extLst>
              <a:ext uri="{FF2B5EF4-FFF2-40B4-BE49-F238E27FC236}">
                <a16:creationId xmlns:a16="http://schemas.microsoft.com/office/drawing/2014/main" id="{1CD6972B-DFC0-49E0-CEDD-F3560A107C30}"/>
              </a:ext>
            </a:extLst>
          </p:cNvPr>
          <p:cNvSpPr>
            <a:spLocks noGrp="1"/>
          </p:cNvSpPr>
          <p:nvPr>
            <p:ph type="body" sz="quarter" idx="17" hasCustomPrompt="1"/>
          </p:nvPr>
        </p:nvSpPr>
        <p:spPr>
          <a:xfrm>
            <a:off x="557212" y="4419600"/>
            <a:ext cx="4933950" cy="419100"/>
          </a:xfrm>
        </p:spPr>
        <p:txBody>
          <a:bodyPr>
            <a:normAutofit/>
          </a:bodyPr>
          <a:lstStyle>
            <a:lvl1pPr>
              <a:defRPr sz="900" i="1">
                <a:solidFill>
                  <a:schemeClr val="tx1"/>
                </a:solidFill>
              </a:defRPr>
            </a:lvl1pPr>
          </a:lstStyle>
          <a:p>
            <a:pPr lvl="0"/>
            <a:r>
              <a:rPr lang="fr-FR" dirty="0"/>
              <a:t>Emplacement logotypes financeurs/partenaires</a:t>
            </a:r>
          </a:p>
        </p:txBody>
      </p:sp>
    </p:spTree>
    <p:extLst>
      <p:ext uri="{BB962C8B-B14F-4D97-AF65-F5344CB8AC3E}">
        <p14:creationId xmlns:p14="http://schemas.microsoft.com/office/powerpoint/2010/main" val="10810964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Contact</a:t>
            </a:r>
          </a:p>
        </p:txBody>
      </p:sp>
      <p:sp>
        <p:nvSpPr>
          <p:cNvPr id="9" name="Espace réservé du texte 8">
            <a:extLst>
              <a:ext uri="{FF2B5EF4-FFF2-40B4-BE49-F238E27FC236}">
                <a16:creationId xmlns:a16="http://schemas.microsoft.com/office/drawing/2014/main" id="{373F48AE-496F-F02F-5148-8492F7C6166A}"/>
              </a:ext>
            </a:extLst>
          </p:cNvPr>
          <p:cNvSpPr>
            <a:spLocks noGrp="1"/>
          </p:cNvSpPr>
          <p:nvPr>
            <p:ph type="body" sz="quarter" idx="10" hasCustomPrompt="1"/>
          </p:nvPr>
        </p:nvSpPr>
        <p:spPr>
          <a:xfrm>
            <a:off x="548878" y="3829219"/>
            <a:ext cx="3488531" cy="1133134"/>
          </a:xfrm>
        </p:spPr>
        <p:txBody>
          <a:bodyPr anchor="t">
            <a:noAutofit/>
          </a:bodyPr>
          <a:lstStyle>
            <a:lvl1pPr marL="0" indent="0">
              <a:lnSpc>
                <a:spcPct val="120000"/>
              </a:lnSpc>
              <a:spcBef>
                <a:spcPts val="0"/>
              </a:spcBef>
              <a:spcAft>
                <a:spcPts val="450"/>
              </a:spcAft>
              <a:buNone/>
              <a:defRPr sz="1200" b="1">
                <a:solidFill>
                  <a:schemeClr val="bg1"/>
                </a:solidFill>
              </a:defRPr>
            </a:lvl1pPr>
            <a:lvl2pPr marL="0" indent="0">
              <a:lnSpc>
                <a:spcPct val="100000"/>
              </a:lnSpc>
              <a:spcBef>
                <a:spcPts val="0"/>
              </a:spcBef>
              <a:spcAft>
                <a:spcPts val="450"/>
              </a:spcAft>
              <a:buNone/>
              <a:defRPr sz="1200">
                <a:solidFill>
                  <a:schemeClr val="bg1"/>
                </a:solidFill>
              </a:defRPr>
            </a:lvl2pPr>
            <a:lvl3pPr marL="135731" indent="-135731">
              <a:lnSpc>
                <a:spcPct val="100000"/>
              </a:lnSpc>
              <a:spcBef>
                <a:spcPts val="0"/>
              </a:spcBef>
              <a:spcAft>
                <a:spcPts val="450"/>
              </a:spcAft>
              <a:defRPr sz="1200">
                <a:solidFill>
                  <a:schemeClr val="bg1"/>
                </a:solidFill>
              </a:defRPr>
            </a:lvl3pPr>
            <a:lvl4pPr marL="267891" indent="-132160">
              <a:lnSpc>
                <a:spcPct val="100000"/>
              </a:lnSpc>
              <a:spcBef>
                <a:spcPts val="0"/>
              </a:spcBef>
              <a:spcAft>
                <a:spcPts val="0"/>
              </a:spcAft>
              <a:defRPr sz="1200">
                <a:solidFill>
                  <a:schemeClr val="bg1"/>
                </a:solidFill>
              </a:defRPr>
            </a:lvl4pPr>
            <a:lvl5pPr marL="403622" indent="-135731">
              <a:lnSpc>
                <a:spcPct val="120000"/>
              </a:lnSpc>
              <a:spcBef>
                <a:spcPts val="0"/>
              </a:spcBef>
              <a:spcAft>
                <a:spcPts val="450"/>
              </a:spcAft>
              <a:defRPr sz="1200">
                <a:solidFill>
                  <a:schemeClr val="bg1"/>
                </a:solidFill>
              </a:defRPr>
            </a:lvl5pPr>
          </a:lstStyle>
          <a:p>
            <a:pPr lvl="0"/>
            <a:r>
              <a:rPr lang="fr-FR" dirty="0"/>
              <a:t>Prénom NOM</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4" name="ZoneTexte 13">
            <a:extLst>
              <a:ext uri="{FF2B5EF4-FFF2-40B4-BE49-F238E27FC236}">
                <a16:creationId xmlns:a16="http://schemas.microsoft.com/office/drawing/2014/main" id="{4E103F96-5E5B-60F7-F077-8E6E1ABD9DF4}"/>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 Prénom NOM = 1</a:t>
            </a:r>
            <a:r>
              <a:rPr lang="fr-FR" sz="900" baseline="30000" dirty="0">
                <a:solidFill>
                  <a:schemeClr val="bg1">
                    <a:lumMod val="50000"/>
                  </a:schemeClr>
                </a:solidFill>
              </a:rPr>
              <a:t>er</a:t>
            </a:r>
            <a:r>
              <a:rPr lang="fr-FR" sz="900" dirty="0">
                <a:solidFill>
                  <a:schemeClr val="bg1">
                    <a:lumMod val="50000"/>
                  </a:schemeClr>
                </a:solidFill>
              </a:rPr>
              <a:t> niveau  -  Email / Tél, = 2</a:t>
            </a:r>
            <a:r>
              <a:rPr lang="fr-FR" sz="900" baseline="30000" dirty="0">
                <a:solidFill>
                  <a:schemeClr val="bg1">
                    <a:lumMod val="50000"/>
                  </a:schemeClr>
                </a:solidFill>
              </a:rPr>
              <a:t>ème</a:t>
            </a:r>
            <a:r>
              <a:rPr lang="fr-FR" sz="900" dirty="0">
                <a:solidFill>
                  <a:schemeClr val="bg1">
                    <a:lumMod val="50000"/>
                  </a:schemeClr>
                </a:solidFill>
              </a:rPr>
              <a:t> niveau</a:t>
            </a:r>
          </a:p>
          <a:p>
            <a:endParaRPr lang="fr-FR" sz="900" dirty="0">
              <a:solidFill>
                <a:schemeClr val="bg1">
                  <a:lumMod val="50000"/>
                </a:schemeClr>
              </a:solidFill>
            </a:endParaRPr>
          </a:p>
        </p:txBody>
      </p:sp>
      <p:grpSp>
        <p:nvGrpSpPr>
          <p:cNvPr id="17" name="Group 12">
            <a:extLst>
              <a:ext uri="{FF2B5EF4-FFF2-40B4-BE49-F238E27FC236}">
                <a16:creationId xmlns:a16="http://schemas.microsoft.com/office/drawing/2014/main" id="{DFC7A27D-F544-3847-F87B-0DF45C44C0D3}"/>
              </a:ext>
            </a:extLst>
          </p:cNvPr>
          <p:cNvGrpSpPr>
            <a:grpSpLocks noChangeAspect="1"/>
          </p:cNvGrpSpPr>
          <p:nvPr userDrawn="1"/>
        </p:nvGrpSpPr>
        <p:grpSpPr bwMode="auto">
          <a:xfrm>
            <a:off x="548878" y="544549"/>
            <a:ext cx="1354649" cy="1354649"/>
            <a:chOff x="461" y="3861"/>
            <a:chExt cx="304" cy="304"/>
          </a:xfrm>
        </p:grpSpPr>
        <p:sp>
          <p:nvSpPr>
            <p:cNvPr id="18" name="AutoShape 11">
              <a:extLst>
                <a:ext uri="{FF2B5EF4-FFF2-40B4-BE49-F238E27FC236}">
                  <a16:creationId xmlns:a16="http://schemas.microsoft.com/office/drawing/2014/main" id="{C581EC54-E4C7-2B85-765F-226E90ED37F9}"/>
                </a:ext>
              </a:extLst>
            </p:cNvPr>
            <p:cNvSpPr>
              <a:spLocks noChangeAspect="1" noChangeArrowheads="1" noTextEdit="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9" name="Rectangle 13">
              <a:extLst>
                <a:ext uri="{FF2B5EF4-FFF2-40B4-BE49-F238E27FC236}">
                  <a16:creationId xmlns:a16="http://schemas.microsoft.com/office/drawing/2014/main" id="{024FFC00-E238-123D-8547-D317547D5C21}"/>
                </a:ext>
              </a:extLst>
            </p:cNvPr>
            <p:cNvSpPr>
              <a:spLocks noChangeArrowheads="1"/>
            </p:cNvSpPr>
            <p:nvPr userDrawn="1"/>
          </p:nvSpPr>
          <p:spPr bwMode="auto">
            <a:xfrm>
              <a:off x="461" y="3861"/>
              <a:ext cx="304" cy="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Rectangle 14">
              <a:extLst>
                <a:ext uri="{FF2B5EF4-FFF2-40B4-BE49-F238E27FC236}">
                  <a16:creationId xmlns:a16="http://schemas.microsoft.com/office/drawing/2014/main" id="{26FC7AA9-98AE-CF10-6510-FBB15BB6F6AD}"/>
                </a:ext>
              </a:extLst>
            </p:cNvPr>
            <p:cNvSpPr>
              <a:spLocks noChangeArrowheads="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1" name="Freeform 15">
              <a:extLst>
                <a:ext uri="{FF2B5EF4-FFF2-40B4-BE49-F238E27FC236}">
                  <a16:creationId xmlns:a16="http://schemas.microsoft.com/office/drawing/2014/main" id="{485E328D-5058-4023-75AE-4DF8C1BAEBCA}"/>
                </a:ext>
              </a:extLst>
            </p:cNvPr>
            <p:cNvSpPr>
              <a:spLocks noEditPoints="1"/>
            </p:cNvSpPr>
            <p:nvPr userDrawn="1"/>
          </p:nvSpPr>
          <p:spPr bwMode="auto">
            <a:xfrm>
              <a:off x="518" y="3962"/>
              <a:ext cx="189" cy="72"/>
            </a:xfrm>
            <a:custGeom>
              <a:avLst/>
              <a:gdLst>
                <a:gd name="T0" fmla="*/ 498 w 498"/>
                <a:gd name="T1" fmla="*/ 96 h 190"/>
                <a:gd name="T2" fmla="*/ 415 w 498"/>
                <a:gd name="T3" fmla="*/ 0 h 190"/>
                <a:gd name="T4" fmla="*/ 350 w 498"/>
                <a:gd name="T5" fmla="*/ 13 h 190"/>
                <a:gd name="T6" fmla="*/ 348 w 498"/>
                <a:gd name="T7" fmla="*/ 37 h 190"/>
                <a:gd name="T8" fmla="*/ 413 w 498"/>
                <a:gd name="T9" fmla="*/ 21 h 190"/>
                <a:gd name="T10" fmla="*/ 463 w 498"/>
                <a:gd name="T11" fmla="*/ 43 h 190"/>
                <a:gd name="T12" fmla="*/ 335 w 498"/>
                <a:gd name="T13" fmla="*/ 141 h 190"/>
                <a:gd name="T14" fmla="*/ 252 w 498"/>
                <a:gd name="T15" fmla="*/ 169 h 190"/>
                <a:gd name="T16" fmla="*/ 199 w 498"/>
                <a:gd name="T17" fmla="*/ 147 h 190"/>
                <a:gd name="T18" fmla="*/ 320 w 498"/>
                <a:gd name="T19" fmla="*/ 34 h 190"/>
                <a:gd name="T20" fmla="*/ 251 w 498"/>
                <a:gd name="T21" fmla="*/ 0 h 190"/>
                <a:gd name="T22" fmla="*/ 188 w 498"/>
                <a:gd name="T23" fmla="*/ 24 h 190"/>
                <a:gd name="T24" fmla="*/ 165 w 498"/>
                <a:gd name="T25" fmla="*/ 98 h 190"/>
                <a:gd name="T26" fmla="*/ 173 w 498"/>
                <a:gd name="T27" fmla="*/ 140 h 190"/>
                <a:gd name="T28" fmla="*/ 85 w 498"/>
                <a:gd name="T29" fmla="*/ 169 h 190"/>
                <a:gd name="T30" fmla="*/ 19 w 498"/>
                <a:gd name="T31" fmla="*/ 95 h 190"/>
                <a:gd name="T32" fmla="*/ 85 w 498"/>
                <a:gd name="T33" fmla="*/ 21 h 190"/>
                <a:gd name="T34" fmla="*/ 150 w 498"/>
                <a:gd name="T35" fmla="*/ 37 h 190"/>
                <a:gd name="T36" fmla="*/ 148 w 498"/>
                <a:gd name="T37" fmla="*/ 13 h 190"/>
                <a:gd name="T38" fmla="*/ 87 w 498"/>
                <a:gd name="T39" fmla="*/ 0 h 190"/>
                <a:gd name="T40" fmla="*/ 0 w 498"/>
                <a:gd name="T41" fmla="*/ 95 h 190"/>
                <a:gd name="T42" fmla="*/ 86 w 498"/>
                <a:gd name="T43" fmla="*/ 190 h 190"/>
                <a:gd name="T44" fmla="*/ 182 w 498"/>
                <a:gd name="T45" fmla="*/ 159 h 190"/>
                <a:gd name="T46" fmla="*/ 251 w 498"/>
                <a:gd name="T47" fmla="*/ 190 h 190"/>
                <a:gd name="T48" fmla="*/ 338 w 498"/>
                <a:gd name="T49" fmla="*/ 164 h 190"/>
                <a:gd name="T50" fmla="*/ 411 w 498"/>
                <a:gd name="T51" fmla="*/ 190 h 190"/>
                <a:gd name="T52" fmla="*/ 477 w 498"/>
                <a:gd name="T53" fmla="*/ 163 h 190"/>
                <a:gd name="T54" fmla="*/ 478 w 498"/>
                <a:gd name="T55" fmla="*/ 185 h 190"/>
                <a:gd name="T56" fmla="*/ 498 w 498"/>
                <a:gd name="T57" fmla="*/ 189 h 190"/>
                <a:gd name="T58" fmla="*/ 498 w 498"/>
                <a:gd name="T59" fmla="*/ 96 h 190"/>
                <a:gd name="T60" fmla="*/ 184 w 498"/>
                <a:gd name="T61" fmla="*/ 107 h 190"/>
                <a:gd name="T62" fmla="*/ 201 w 498"/>
                <a:gd name="T63" fmla="*/ 39 h 190"/>
                <a:gd name="T64" fmla="*/ 251 w 498"/>
                <a:gd name="T65" fmla="*/ 19 h 190"/>
                <a:gd name="T66" fmla="*/ 297 w 498"/>
                <a:gd name="T67" fmla="*/ 37 h 190"/>
                <a:gd name="T68" fmla="*/ 261 w 498"/>
                <a:gd name="T69" fmla="*/ 78 h 190"/>
                <a:gd name="T70" fmla="*/ 190 w 498"/>
                <a:gd name="T71" fmla="*/ 128 h 190"/>
                <a:gd name="T72" fmla="*/ 184 w 498"/>
                <a:gd name="T73" fmla="*/ 107 h 190"/>
                <a:gd name="T74" fmla="*/ 462 w 498"/>
                <a:gd name="T75" fmla="*/ 151 h 190"/>
                <a:gd name="T76" fmla="*/ 411 w 498"/>
                <a:gd name="T77" fmla="*/ 170 h 190"/>
                <a:gd name="T78" fmla="*/ 356 w 498"/>
                <a:gd name="T79" fmla="*/ 151 h 190"/>
                <a:gd name="T80" fmla="*/ 472 w 498"/>
                <a:gd name="T81" fmla="*/ 60 h 190"/>
                <a:gd name="T82" fmla="*/ 479 w 498"/>
                <a:gd name="T83" fmla="*/ 83 h 190"/>
                <a:gd name="T84" fmla="*/ 462 w 498"/>
                <a:gd name="T85"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190">
                  <a:moveTo>
                    <a:pt x="498" y="96"/>
                  </a:moveTo>
                  <a:cubicBezTo>
                    <a:pt x="498" y="6"/>
                    <a:pt x="430" y="0"/>
                    <a:pt x="415" y="0"/>
                  </a:cubicBezTo>
                  <a:cubicBezTo>
                    <a:pt x="393" y="0"/>
                    <a:pt x="372" y="4"/>
                    <a:pt x="350" y="13"/>
                  </a:cubicBezTo>
                  <a:cubicBezTo>
                    <a:pt x="348" y="37"/>
                    <a:pt x="348" y="37"/>
                    <a:pt x="348" y="37"/>
                  </a:cubicBezTo>
                  <a:cubicBezTo>
                    <a:pt x="357" y="33"/>
                    <a:pt x="385" y="21"/>
                    <a:pt x="413" y="21"/>
                  </a:cubicBezTo>
                  <a:cubicBezTo>
                    <a:pt x="435" y="21"/>
                    <a:pt x="452" y="28"/>
                    <a:pt x="463" y="43"/>
                  </a:cubicBezTo>
                  <a:cubicBezTo>
                    <a:pt x="387" y="82"/>
                    <a:pt x="342" y="114"/>
                    <a:pt x="335" y="141"/>
                  </a:cubicBezTo>
                  <a:cubicBezTo>
                    <a:pt x="316" y="154"/>
                    <a:pt x="282" y="169"/>
                    <a:pt x="252" y="169"/>
                  </a:cubicBezTo>
                  <a:cubicBezTo>
                    <a:pt x="219" y="169"/>
                    <a:pt x="205" y="155"/>
                    <a:pt x="199" y="147"/>
                  </a:cubicBezTo>
                  <a:cubicBezTo>
                    <a:pt x="282" y="91"/>
                    <a:pt x="325" y="59"/>
                    <a:pt x="320" y="34"/>
                  </a:cubicBezTo>
                  <a:cubicBezTo>
                    <a:pt x="315" y="11"/>
                    <a:pt x="281" y="0"/>
                    <a:pt x="251" y="0"/>
                  </a:cubicBezTo>
                  <a:cubicBezTo>
                    <a:pt x="219" y="0"/>
                    <a:pt x="198" y="13"/>
                    <a:pt x="188" y="24"/>
                  </a:cubicBezTo>
                  <a:cubicBezTo>
                    <a:pt x="172" y="41"/>
                    <a:pt x="164" y="66"/>
                    <a:pt x="165" y="98"/>
                  </a:cubicBezTo>
                  <a:cubicBezTo>
                    <a:pt x="165" y="112"/>
                    <a:pt x="168" y="127"/>
                    <a:pt x="173" y="140"/>
                  </a:cubicBezTo>
                  <a:cubicBezTo>
                    <a:pt x="160" y="148"/>
                    <a:pt x="125" y="169"/>
                    <a:pt x="85" y="169"/>
                  </a:cubicBezTo>
                  <a:cubicBezTo>
                    <a:pt x="38" y="169"/>
                    <a:pt x="19" y="132"/>
                    <a:pt x="19" y="95"/>
                  </a:cubicBezTo>
                  <a:cubicBezTo>
                    <a:pt x="19" y="59"/>
                    <a:pt x="37" y="21"/>
                    <a:pt x="85" y="21"/>
                  </a:cubicBezTo>
                  <a:cubicBezTo>
                    <a:pt x="113" y="21"/>
                    <a:pt x="140" y="32"/>
                    <a:pt x="150" y="37"/>
                  </a:cubicBezTo>
                  <a:cubicBezTo>
                    <a:pt x="148" y="13"/>
                    <a:pt x="148" y="13"/>
                    <a:pt x="148" y="13"/>
                  </a:cubicBezTo>
                  <a:cubicBezTo>
                    <a:pt x="130" y="6"/>
                    <a:pt x="107" y="0"/>
                    <a:pt x="87" y="0"/>
                  </a:cubicBezTo>
                  <a:cubicBezTo>
                    <a:pt x="7" y="0"/>
                    <a:pt x="0" y="67"/>
                    <a:pt x="0" y="95"/>
                  </a:cubicBezTo>
                  <a:cubicBezTo>
                    <a:pt x="0" y="122"/>
                    <a:pt x="7" y="190"/>
                    <a:pt x="86" y="190"/>
                  </a:cubicBezTo>
                  <a:cubicBezTo>
                    <a:pt x="134" y="190"/>
                    <a:pt x="175" y="164"/>
                    <a:pt x="182" y="159"/>
                  </a:cubicBezTo>
                  <a:cubicBezTo>
                    <a:pt x="187" y="168"/>
                    <a:pt x="208" y="190"/>
                    <a:pt x="251" y="190"/>
                  </a:cubicBezTo>
                  <a:cubicBezTo>
                    <a:pt x="286" y="190"/>
                    <a:pt x="325" y="173"/>
                    <a:pt x="338" y="164"/>
                  </a:cubicBezTo>
                  <a:cubicBezTo>
                    <a:pt x="346" y="175"/>
                    <a:pt x="362" y="190"/>
                    <a:pt x="411" y="190"/>
                  </a:cubicBezTo>
                  <a:cubicBezTo>
                    <a:pt x="444" y="190"/>
                    <a:pt x="464" y="179"/>
                    <a:pt x="477" y="163"/>
                  </a:cubicBezTo>
                  <a:cubicBezTo>
                    <a:pt x="477" y="171"/>
                    <a:pt x="478" y="179"/>
                    <a:pt x="478" y="185"/>
                  </a:cubicBezTo>
                  <a:cubicBezTo>
                    <a:pt x="498" y="189"/>
                    <a:pt x="498" y="189"/>
                    <a:pt x="498" y="189"/>
                  </a:cubicBezTo>
                  <a:cubicBezTo>
                    <a:pt x="497" y="168"/>
                    <a:pt x="498" y="97"/>
                    <a:pt x="498" y="96"/>
                  </a:cubicBezTo>
                  <a:moveTo>
                    <a:pt x="184" y="107"/>
                  </a:moveTo>
                  <a:cubicBezTo>
                    <a:pt x="184" y="107"/>
                    <a:pt x="178" y="65"/>
                    <a:pt x="201" y="39"/>
                  </a:cubicBezTo>
                  <a:cubicBezTo>
                    <a:pt x="212" y="26"/>
                    <a:pt x="229" y="19"/>
                    <a:pt x="251" y="19"/>
                  </a:cubicBezTo>
                  <a:cubicBezTo>
                    <a:pt x="275" y="19"/>
                    <a:pt x="295" y="28"/>
                    <a:pt x="297" y="37"/>
                  </a:cubicBezTo>
                  <a:cubicBezTo>
                    <a:pt x="299" y="44"/>
                    <a:pt x="292" y="53"/>
                    <a:pt x="261" y="78"/>
                  </a:cubicBezTo>
                  <a:cubicBezTo>
                    <a:pt x="261" y="78"/>
                    <a:pt x="230" y="105"/>
                    <a:pt x="190" y="128"/>
                  </a:cubicBezTo>
                  <a:cubicBezTo>
                    <a:pt x="187" y="122"/>
                    <a:pt x="185" y="115"/>
                    <a:pt x="184" y="107"/>
                  </a:cubicBezTo>
                  <a:moveTo>
                    <a:pt x="462" y="151"/>
                  </a:moveTo>
                  <a:cubicBezTo>
                    <a:pt x="450" y="164"/>
                    <a:pt x="433" y="170"/>
                    <a:pt x="411" y="170"/>
                  </a:cubicBezTo>
                  <a:cubicBezTo>
                    <a:pt x="361" y="170"/>
                    <a:pt x="356" y="151"/>
                    <a:pt x="356" y="151"/>
                  </a:cubicBezTo>
                  <a:cubicBezTo>
                    <a:pt x="350" y="140"/>
                    <a:pt x="367" y="116"/>
                    <a:pt x="472" y="60"/>
                  </a:cubicBezTo>
                  <a:cubicBezTo>
                    <a:pt x="475" y="67"/>
                    <a:pt x="477" y="75"/>
                    <a:pt x="479" y="83"/>
                  </a:cubicBezTo>
                  <a:cubicBezTo>
                    <a:pt x="479" y="83"/>
                    <a:pt x="484" y="125"/>
                    <a:pt x="462" y="15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Rectangle 16">
              <a:extLst>
                <a:ext uri="{FF2B5EF4-FFF2-40B4-BE49-F238E27FC236}">
                  <a16:creationId xmlns:a16="http://schemas.microsoft.com/office/drawing/2014/main" id="{B32124BB-315A-4642-3185-D0F09F05E9F3}"/>
                </a:ext>
              </a:extLst>
            </p:cNvPr>
            <p:cNvSpPr>
              <a:spLocks noChangeArrowheads="1"/>
            </p:cNvSpPr>
            <p:nvPr userDrawn="1"/>
          </p:nvSpPr>
          <p:spPr bwMode="auto">
            <a:xfrm>
              <a:off x="526" y="4057"/>
              <a:ext cx="174"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3" name="Rectangle 17">
              <a:extLst>
                <a:ext uri="{FF2B5EF4-FFF2-40B4-BE49-F238E27FC236}">
                  <a16:creationId xmlns:a16="http://schemas.microsoft.com/office/drawing/2014/main" id="{283D2C2C-F437-0747-2745-E4E3B6D20760}"/>
                </a:ext>
              </a:extLst>
            </p:cNvPr>
            <p:cNvSpPr>
              <a:spLocks noChangeArrowheads="1"/>
            </p:cNvSpPr>
            <p:nvPr userDrawn="1"/>
          </p:nvSpPr>
          <p:spPr bwMode="auto">
            <a:xfrm>
              <a:off x="526" y="4057"/>
              <a:ext cx="174" cy="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pic>
        <p:nvPicPr>
          <p:cNvPr id="16" name="Image 15">
            <a:extLst>
              <a:ext uri="{FF2B5EF4-FFF2-40B4-BE49-F238E27FC236}">
                <a16:creationId xmlns:a16="http://schemas.microsoft.com/office/drawing/2014/main" id="{2E000BD1-941E-96DB-8740-6C7D2BD0EE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91" r="39816"/>
          <a:stretch/>
        </p:blipFill>
        <p:spPr>
          <a:xfrm>
            <a:off x="7027200" y="0"/>
            <a:ext cx="2116801" cy="1856509"/>
          </a:xfrm>
          <a:prstGeom prst="rect">
            <a:avLst/>
          </a:prstGeom>
        </p:spPr>
      </p:pic>
      <p:sp>
        <p:nvSpPr>
          <p:cNvPr id="2" name="Espace réservé du texte 4">
            <a:extLst>
              <a:ext uri="{FF2B5EF4-FFF2-40B4-BE49-F238E27FC236}">
                <a16:creationId xmlns:a16="http://schemas.microsoft.com/office/drawing/2014/main" id="{22219D0D-87E0-357C-56D2-13A29A891F48}"/>
              </a:ext>
            </a:extLst>
          </p:cNvPr>
          <p:cNvSpPr>
            <a:spLocks noGrp="1"/>
          </p:cNvSpPr>
          <p:nvPr>
            <p:ph type="body" sz="quarter" idx="17" hasCustomPrompt="1"/>
          </p:nvPr>
        </p:nvSpPr>
        <p:spPr>
          <a:xfrm>
            <a:off x="6076951" y="4419600"/>
            <a:ext cx="2518172" cy="419100"/>
          </a:xfrm>
        </p:spPr>
        <p:txBody>
          <a:bodyPr rIns="0">
            <a:normAutofit/>
          </a:bodyPr>
          <a:lstStyle>
            <a:lvl1pPr algn="r">
              <a:defRPr sz="900" i="1">
                <a:solidFill>
                  <a:schemeClr val="bg1"/>
                </a:solidFill>
              </a:defRPr>
            </a:lvl1pPr>
          </a:lstStyle>
          <a:p>
            <a:pPr lvl="0"/>
            <a:r>
              <a:rPr lang="fr-FR" dirty="0"/>
              <a:t>Emplacement logotypes financeurs/partenaires</a:t>
            </a:r>
          </a:p>
        </p:txBody>
      </p:sp>
    </p:spTree>
    <p:extLst>
      <p:ext uri="{BB962C8B-B14F-4D97-AF65-F5344CB8AC3E}">
        <p14:creationId xmlns:p14="http://schemas.microsoft.com/office/powerpoint/2010/main" val="1176503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900"/>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Picture Placeholder 10"/>
          <p:cNvSpPr>
            <a:spLocks noGrp="1"/>
          </p:cNvSpPr>
          <p:nvPr>
            <p:ph type="pic" sz="quarter" idx="10" hasCustomPrompt="1"/>
          </p:nvPr>
        </p:nvSpPr>
        <p:spPr>
          <a:xfrm>
            <a:off x="395537"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24" name="Bild 7"/>
          <p:cNvPicPr>
            <a:picLocks noChangeAspect="1"/>
          </p:cNvPicPr>
          <p:nvPr userDrawn="1"/>
        </p:nvPicPr>
        <p:blipFill rotWithShape="1">
          <a:blip r:embed="rId2"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7" name="Picture 5">
            <a:extLst>
              <a:ext uri="{FF2B5EF4-FFF2-40B4-BE49-F238E27FC236}">
                <a16:creationId xmlns:a16="http://schemas.microsoft.com/office/drawing/2014/main" id="{F6C5CF7E-F1FA-E915-475F-E8B3D9F72D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08750" y="4295410"/>
            <a:ext cx="3627746" cy="744154"/>
          </a:xfrm>
          <a:prstGeom prst="rect">
            <a:avLst/>
          </a:prstGeom>
        </p:spPr>
      </p:pic>
    </p:spTree>
    <p:extLst>
      <p:ext uri="{BB962C8B-B14F-4D97-AF65-F5344CB8AC3E}">
        <p14:creationId xmlns:p14="http://schemas.microsoft.com/office/powerpoint/2010/main" val="20297137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Date Placeholder 3"/>
          <p:cNvSpPr>
            <a:spLocks noGrp="1"/>
          </p:cNvSpPr>
          <p:nvPr>
            <p:ph type="dt" sz="half" idx="10"/>
          </p:nvPr>
        </p:nvSpPr>
        <p:spPr/>
        <p:txBody>
          <a:bodyPr/>
          <a:lstStyle/>
          <a:p>
            <a:fld id="{1BF13CE9-72FB-43D9-92B5-7E22B287450C}" type="datetimeFigureOut">
              <a:rPr lang="sv-SE" smtClean="0"/>
              <a:t>2024-04-1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920F3279-6EEA-4921-831D-46A3172D8257}" type="slidenum">
              <a:rPr lang="sv-SE" smtClean="0"/>
              <a:t>‹Nr.›</a:t>
            </a:fld>
            <a:endParaRPr lang="sv-SE"/>
          </a:p>
        </p:txBody>
      </p:sp>
    </p:spTree>
    <p:extLst>
      <p:ext uri="{BB962C8B-B14F-4D97-AF65-F5344CB8AC3E}">
        <p14:creationId xmlns:p14="http://schemas.microsoft.com/office/powerpoint/2010/main" val="3710404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900"/>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Picture Placeholder 10"/>
          <p:cNvSpPr>
            <a:spLocks noGrp="1"/>
          </p:cNvSpPr>
          <p:nvPr>
            <p:ph type="pic" sz="quarter" idx="10" hasCustomPrompt="1"/>
          </p:nvPr>
        </p:nvSpPr>
        <p:spPr>
          <a:xfrm>
            <a:off x="395537"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9" name="Group 8"/>
          <p:cNvGrpSpPr/>
          <p:nvPr userDrawn="1"/>
        </p:nvGrpSpPr>
        <p:grpSpPr>
          <a:xfrm>
            <a:off x="18230283" y="30189672"/>
            <a:ext cx="9924896" cy="133623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18382683" y="30303972"/>
            <a:ext cx="9924896" cy="133623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18535083" y="30418272"/>
            <a:ext cx="9924896" cy="133623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18687483" y="30532572"/>
            <a:ext cx="9924896" cy="133623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25" name="Bild 13" descr="EU_und_Text.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96" y="4320000"/>
            <a:ext cx="3456384" cy="649203"/>
          </a:xfrm>
          <a:prstGeom prst="rect">
            <a:avLst/>
          </a:prstGeom>
        </p:spPr>
      </p:pic>
    </p:spTree>
    <p:extLst>
      <p:ext uri="{BB962C8B-B14F-4D97-AF65-F5344CB8AC3E}">
        <p14:creationId xmlns:p14="http://schemas.microsoft.com/office/powerpoint/2010/main" val="17428772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457200" y="57150"/>
            <a:ext cx="7543800" cy="342900"/>
          </a:xfrm>
        </p:spPr>
        <p:txBody>
          <a:bodyPr>
            <a:noAutofit/>
          </a:bodyPr>
          <a:lstStyle>
            <a:lvl1pPr algn="l">
              <a:lnSpc>
                <a:spcPts val="3200"/>
              </a:lnSpc>
              <a:defRPr sz="3200" b="1">
                <a:latin typeface="Arial" panose="020B0604020202020204" pitchFamily="34" charset="0"/>
                <a:cs typeface="Arial" panose="020B0604020202020204" pitchFamily="34" charset="0"/>
              </a:defRPr>
            </a:lvl1pPr>
          </a:lstStyle>
          <a:p>
            <a:r>
              <a:rPr lang="en-GB"/>
              <a:t>Click to edit Master title style</a:t>
            </a:r>
            <a:endParaRPr lang="en-GB" dirty="0"/>
          </a:p>
        </p:txBody>
      </p:sp>
      <p:sp>
        <p:nvSpPr>
          <p:cNvPr id="3" name="Content Placeholder 2"/>
          <p:cNvSpPr>
            <a:spLocks noGrp="1"/>
          </p:cNvSpPr>
          <p:nvPr>
            <p:ph idx="1"/>
          </p:nvPr>
        </p:nvSpPr>
        <p:spPr>
          <a:xfrm>
            <a:off x="457200" y="1059582"/>
            <a:ext cx="8229600" cy="3672408"/>
          </a:xfrm>
        </p:spPr>
        <p:txBody>
          <a:bodyPr/>
          <a:lstStyle>
            <a:lvl1pPr marL="342900" indent="-342900">
              <a:buFont typeface="Arial" panose="020B0604020202020204" pitchFamily="34" charset="0"/>
              <a:buChar char="•"/>
              <a:defRPr sz="2400">
                <a:latin typeface="Arial" panose="020B0604020202020204" pitchFamily="34" charset="0"/>
                <a:cs typeface="Arial" panose="020B0604020202020204" pitchFamily="34" charset="0"/>
              </a:defRPr>
            </a:lvl1pPr>
            <a:lvl2pPr marL="742950" indent="-285750">
              <a:buFont typeface="Arial" panose="020B0604020202020204" pitchFamily="34" charset="0"/>
              <a:buChar char="•"/>
              <a:defRPr sz="20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800">
                <a:latin typeface="Arial" panose="020B0604020202020204" pitchFamily="34" charset="0"/>
                <a:cs typeface="Arial" panose="020B0604020202020204" pitchFamily="34" charset="0"/>
              </a:defRPr>
            </a:lvl3pPr>
            <a:lvl4pPr>
              <a:defRPr/>
            </a:lvl4pPr>
            <a:lvl5pPr>
              <a:defRPr/>
            </a:lvl5pPr>
          </a:lstStyle>
          <a:p>
            <a:pPr lvl="0"/>
            <a:r>
              <a:rPr lang="en-GB"/>
              <a:t>Click to edit Master text styles</a:t>
            </a:r>
          </a:p>
          <a:p>
            <a:pPr lvl="1"/>
            <a:r>
              <a:rPr lang="en-GB"/>
              <a:t>Second level</a:t>
            </a:r>
          </a:p>
          <a:p>
            <a:pPr lvl="2"/>
            <a:r>
              <a:rPr lang="en-GB"/>
              <a:t>Third level</a:t>
            </a:r>
          </a:p>
        </p:txBody>
      </p:sp>
      <p:sp>
        <p:nvSpPr>
          <p:cNvPr id="8" name="Footer Placeholder 4"/>
          <p:cNvSpPr>
            <a:spLocks noGrp="1"/>
          </p:cNvSpPr>
          <p:nvPr>
            <p:ph type="ftr" sz="quarter" idx="11"/>
          </p:nvPr>
        </p:nvSpPr>
        <p:spPr>
          <a:xfrm>
            <a:off x="467544" y="4908928"/>
            <a:ext cx="8240228" cy="201104"/>
          </a:xfr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pl-PL" dirty="0"/>
              <a:t>Marcin Rasiński </a:t>
            </a:r>
            <a:r>
              <a:rPr lang="en-GB" dirty="0"/>
              <a:t>| </a:t>
            </a:r>
            <a:r>
              <a:rPr lang="en-US" dirty="0"/>
              <a:t>WP PWIE 2022 Reporting Meeting / 2023 Planning Meeting </a:t>
            </a:r>
            <a:r>
              <a:rPr lang="en-GB" dirty="0"/>
              <a:t>| </a:t>
            </a:r>
            <a:r>
              <a:rPr lang="pl-PL" dirty="0"/>
              <a:t>6</a:t>
            </a:r>
            <a:r>
              <a:rPr lang="en-GB" dirty="0"/>
              <a:t> </a:t>
            </a:r>
            <a:r>
              <a:rPr lang="pl-PL" dirty="0"/>
              <a:t>February</a:t>
            </a:r>
            <a:r>
              <a:rPr lang="en-GB" dirty="0"/>
              <a:t> 202</a:t>
            </a:r>
            <a:r>
              <a:rPr lang="pl-PL" dirty="0"/>
              <a:t>3</a:t>
            </a:r>
            <a:r>
              <a:rPr lang="en-GB" dirty="0"/>
              <a:t>  | Page </a:t>
            </a:r>
            <a:fld id="{6A6D9FA1-99C7-4910-8E32-B85D378B0060}" type="slidenum">
              <a:rPr lang="en-GB" smtClean="0"/>
              <a:pPr algn="r"/>
              <a:t>‹Nr.›</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1552283524"/>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899"/>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800"/>
          </a:p>
        </p:txBody>
      </p:sp>
      <p:sp>
        <p:nvSpPr>
          <p:cNvPr id="6" name="Picture Placeholder 10"/>
          <p:cNvSpPr>
            <a:spLocks noGrp="1"/>
          </p:cNvSpPr>
          <p:nvPr>
            <p:ph type="pic" sz="quarter" idx="10" hasCustomPrompt="1"/>
          </p:nvPr>
        </p:nvSpPr>
        <p:spPr>
          <a:xfrm>
            <a:off x="395538"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grpSp>
        <p:nvGrpSpPr>
          <p:cNvPr id="9" name="Group 8"/>
          <p:cNvGrpSpPr/>
          <p:nvPr userDrawn="1"/>
        </p:nvGrpSpPr>
        <p:grpSpPr>
          <a:xfrm>
            <a:off x="18230284" y="30189673"/>
            <a:ext cx="9924896" cy="133623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18382684" y="30303973"/>
            <a:ext cx="9924896" cy="133623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18535084" y="30418273"/>
            <a:ext cx="9924896" cy="133623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18687484" y="30532573"/>
            <a:ext cx="9924896" cy="133623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25" name="Bild 13" descr="EU_und_Text.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96" y="4320001"/>
            <a:ext cx="3456384" cy="649203"/>
          </a:xfrm>
          <a:prstGeom prst="rect">
            <a:avLst/>
          </a:prstGeom>
        </p:spPr>
      </p:pic>
    </p:spTree>
    <p:extLst>
      <p:ext uri="{BB962C8B-B14F-4D97-AF65-F5344CB8AC3E}">
        <p14:creationId xmlns:p14="http://schemas.microsoft.com/office/powerpoint/2010/main" val="29251873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ffectLst/>
            </a:endParaRPr>
          </a:p>
        </p:txBody>
      </p:sp>
      <p:sp>
        <p:nvSpPr>
          <p:cNvPr id="2" name="Title 1"/>
          <p:cNvSpPr>
            <a:spLocks noGrp="1"/>
          </p:cNvSpPr>
          <p:nvPr>
            <p:ph type="title"/>
          </p:nvPr>
        </p:nvSpPr>
        <p:spPr>
          <a:xfrm>
            <a:off x="-61609" y="82253"/>
            <a:ext cx="7543800" cy="342900"/>
          </a:xfr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457200" y="1254135"/>
            <a:ext cx="8229600" cy="3672408"/>
          </a:xfrm>
        </p:spPr>
        <p:txBody>
          <a:bodyPr/>
          <a:lstStyle>
            <a:lvl1pPr marL="342892" indent="-342892">
              <a:buFont typeface="Wingdings" panose="05000000000000000000" pitchFamily="2" charset="2"/>
              <a:buChar char="§"/>
              <a:defRPr sz="2400">
                <a:latin typeface="Arial" panose="020B0604020202020204" pitchFamily="34" charset="0"/>
                <a:cs typeface="Arial" panose="020B0604020202020204" pitchFamily="34" charset="0"/>
              </a:defRPr>
            </a:lvl1pPr>
            <a:lvl2pPr marL="742931" indent="-285743">
              <a:buFont typeface="Wingdings" panose="05000000000000000000" pitchFamily="2" charset="2"/>
              <a:buChar char="§"/>
              <a:defRPr sz="2000">
                <a:latin typeface="Arial" panose="020B0604020202020204" pitchFamily="34" charset="0"/>
                <a:cs typeface="Arial" panose="020B0604020202020204" pitchFamily="34" charset="0"/>
              </a:defRPr>
            </a:lvl2pPr>
            <a:lvl3pPr marL="1142972" indent="-228594">
              <a:buFont typeface="Wingdings" panose="05000000000000000000" pitchFamily="2" charset="2"/>
              <a:buChar char="§"/>
              <a:defRPr sz="18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467545"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Zoom | 24.01.2022 | Page </a:t>
            </a:r>
            <a:fld id="{6A6D9FA1-99C7-4910-8E32-B85D378B0060}" type="slidenum">
              <a:rPr lang="en-GB" smtClean="0"/>
              <a:pPr algn="r"/>
              <a:t>‹Nr.›</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7" y="70181"/>
            <a:ext cx="367958" cy="373990"/>
          </a:xfrm>
          <a:prstGeom prst="rect">
            <a:avLst/>
          </a:prstGeom>
        </p:spPr>
      </p:pic>
    </p:spTree>
    <p:extLst>
      <p:ext uri="{BB962C8B-B14F-4D97-AF65-F5344CB8AC3E}">
        <p14:creationId xmlns:p14="http://schemas.microsoft.com/office/powerpoint/2010/main" val="3471850176"/>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3089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8"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59" name="PlaceHolder 2"/>
          <p:cNvSpPr>
            <a:spLocks noGrp="1"/>
          </p:cNvSpPr>
          <p:nvPr>
            <p:ph type="subTitle"/>
          </p:nvPr>
        </p:nvSpPr>
        <p:spPr>
          <a:xfrm>
            <a:off x="457200" y="1203480"/>
            <a:ext cx="8229240" cy="2982960"/>
          </a:xfrm>
          <a:prstGeom prst="rect">
            <a:avLst/>
          </a:prstGeom>
        </p:spPr>
        <p:txBody>
          <a:bodyPr lIns="0" tIns="0" rIns="0" bIns="0" anchor="ctr">
            <a:noAutofit/>
          </a:bodyPr>
          <a:lstStyle/>
          <a:p>
            <a:pPr algn="ctr"/>
            <a:endParaRPr lang="es-ES" sz="3200" b="0" strike="noStrike" spc="-1">
              <a:latin typeface="Arial"/>
            </a:endParaRPr>
          </a:p>
        </p:txBody>
      </p:sp>
    </p:spTree>
    <p:extLst>
      <p:ext uri="{BB962C8B-B14F-4D97-AF65-F5344CB8AC3E}">
        <p14:creationId xmlns:p14="http://schemas.microsoft.com/office/powerpoint/2010/main" val="3848857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60"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61"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4480358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re CEA lite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7B68EE-BDE5-1E9D-059B-83B50A6ACD18}"/>
              </a:ext>
            </a:extLst>
          </p:cNvPr>
          <p:cNvSpPr>
            <a:spLocks noGrp="1"/>
          </p:cNvSpPr>
          <p:nvPr>
            <p:ph type="ctrTitle"/>
          </p:nvPr>
        </p:nvSpPr>
        <p:spPr>
          <a:xfrm>
            <a:off x="548879" y="1990725"/>
            <a:ext cx="3970734" cy="1190626"/>
          </a:xfrm>
        </p:spPr>
        <p:txBody>
          <a:bodyPr anchor="b">
            <a:normAutofit/>
          </a:bodyPr>
          <a:lstStyle>
            <a:lvl1pPr algn="l">
              <a:defRPr sz="2100">
                <a:solidFill>
                  <a:schemeClr val="tx1"/>
                </a:solidFill>
              </a:defRPr>
            </a:lvl1pPr>
          </a:lstStyle>
          <a:p>
            <a:r>
              <a:rPr lang="fr-FR"/>
              <a:t>Modifiez le style du titre</a:t>
            </a:r>
            <a:endParaRPr lang="fr-FR" dirty="0"/>
          </a:p>
        </p:txBody>
      </p:sp>
      <p:sp>
        <p:nvSpPr>
          <p:cNvPr id="3" name="Sous-titre 2">
            <a:extLst>
              <a:ext uri="{FF2B5EF4-FFF2-40B4-BE49-F238E27FC236}">
                <a16:creationId xmlns:a16="http://schemas.microsoft.com/office/drawing/2014/main" id="{34801059-2D37-8D44-42C0-ED46DE3A8FD1}"/>
              </a:ext>
            </a:extLst>
          </p:cNvPr>
          <p:cNvSpPr>
            <a:spLocks noGrp="1"/>
          </p:cNvSpPr>
          <p:nvPr>
            <p:ph type="subTitle" idx="1"/>
          </p:nvPr>
        </p:nvSpPr>
        <p:spPr>
          <a:xfrm>
            <a:off x="548879" y="3196828"/>
            <a:ext cx="3970734" cy="1241822"/>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fr-FR" dirty="0"/>
          </a:p>
        </p:txBody>
      </p:sp>
      <p:sp>
        <p:nvSpPr>
          <p:cNvPr id="4" name="ZoneTexte 3">
            <a:extLst>
              <a:ext uri="{FF2B5EF4-FFF2-40B4-BE49-F238E27FC236}">
                <a16:creationId xmlns:a16="http://schemas.microsoft.com/office/drawing/2014/main" id="{772B667D-CC06-7D82-8E0F-CFDA021D6AD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CEA </a:t>
            </a:r>
            <a:r>
              <a:rPr lang="fr-FR" sz="900" dirty="0" err="1">
                <a:solidFill>
                  <a:schemeClr val="bg1">
                    <a:lumMod val="50000"/>
                  </a:schemeClr>
                </a:solidFill>
              </a:rPr>
              <a:t>liten</a:t>
            </a:r>
            <a:endParaRPr lang="fr-FR" sz="900" dirty="0">
              <a:solidFill>
                <a:schemeClr val="bg1">
                  <a:lumMod val="50000"/>
                </a:schemeClr>
              </a:solidFill>
            </a:endParaRPr>
          </a:p>
        </p:txBody>
      </p:sp>
      <p:sp>
        <p:nvSpPr>
          <p:cNvPr id="6" name="Rectangle 5">
            <a:extLst>
              <a:ext uri="{FF2B5EF4-FFF2-40B4-BE49-F238E27FC236}">
                <a16:creationId xmlns:a16="http://schemas.microsoft.com/office/drawing/2014/main" id="{31F5FF40-204E-79EE-35CB-85711491D064}"/>
              </a:ext>
            </a:extLst>
          </p:cNvPr>
          <p:cNvSpPr/>
          <p:nvPr userDrawn="1"/>
        </p:nvSpPr>
        <p:spPr>
          <a:xfrm>
            <a:off x="8386762" y="2372453"/>
            <a:ext cx="757238"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pic>
        <p:nvPicPr>
          <p:cNvPr id="11"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pic>
        <p:nvPicPr>
          <p:cNvPr id="8" name="Image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557212" y="555130"/>
            <a:ext cx="2981516" cy="1329406"/>
          </a:xfrm>
          <a:prstGeom prst="rect">
            <a:avLst/>
          </a:prstGeom>
        </p:spPr>
      </p:pic>
    </p:spTree>
    <p:extLst>
      <p:ext uri="{BB962C8B-B14F-4D97-AF65-F5344CB8AC3E}">
        <p14:creationId xmlns:p14="http://schemas.microsoft.com/office/powerpoint/2010/main" val="16804199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62"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63"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s-ES" sz="3200" b="0" strike="noStrike" spc="-1">
              <a:latin typeface="Arial"/>
            </a:endParaRPr>
          </a:p>
        </p:txBody>
      </p:sp>
      <p:sp>
        <p:nvSpPr>
          <p:cNvPr id="64"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14993532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5"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Tree>
    <p:extLst>
      <p:ext uri="{BB962C8B-B14F-4D97-AF65-F5344CB8AC3E}">
        <p14:creationId xmlns:p14="http://schemas.microsoft.com/office/powerpoint/2010/main" val="18412668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66" name="PlaceHolder 1"/>
          <p:cNvSpPr>
            <a:spLocks noGrp="1"/>
          </p:cNvSpPr>
          <p:nvPr>
            <p:ph type="subTitle"/>
          </p:nvPr>
        </p:nvSpPr>
        <p:spPr>
          <a:xfrm>
            <a:off x="457200" y="205200"/>
            <a:ext cx="8229240" cy="3981240"/>
          </a:xfrm>
          <a:prstGeom prst="rect">
            <a:avLst/>
          </a:prstGeom>
        </p:spPr>
        <p:txBody>
          <a:bodyPr lIns="0" tIns="0" rIns="0" bIns="0" anchor="ctr">
            <a:noAutofit/>
          </a:bodyPr>
          <a:lstStyle/>
          <a:p>
            <a:pPr algn="ctr"/>
            <a:endParaRPr lang="es-ES" sz="3200" b="0" strike="noStrike" spc="-1">
              <a:latin typeface="Arial"/>
            </a:endParaRPr>
          </a:p>
        </p:txBody>
      </p:sp>
    </p:spTree>
    <p:extLst>
      <p:ext uri="{BB962C8B-B14F-4D97-AF65-F5344CB8AC3E}">
        <p14:creationId xmlns:p14="http://schemas.microsoft.com/office/powerpoint/2010/main" val="36236904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68"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3200" b="0" strike="noStrike" spc="-1">
              <a:latin typeface="Arial"/>
            </a:endParaRPr>
          </a:p>
        </p:txBody>
      </p:sp>
      <p:sp>
        <p:nvSpPr>
          <p:cNvPr id="69"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s-ES" sz="3200" b="0" strike="noStrike" spc="-1">
              <a:latin typeface="Arial"/>
            </a:endParaRPr>
          </a:p>
        </p:txBody>
      </p:sp>
      <p:sp>
        <p:nvSpPr>
          <p:cNvPr id="70"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36454370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71"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72"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s-ES" sz="3200" b="0" strike="noStrike" spc="-1">
              <a:latin typeface="Arial"/>
            </a:endParaRPr>
          </a:p>
        </p:txBody>
      </p:sp>
      <p:sp>
        <p:nvSpPr>
          <p:cNvPr id="73"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3200" b="0" strike="noStrike" spc="-1">
              <a:latin typeface="Arial"/>
            </a:endParaRPr>
          </a:p>
        </p:txBody>
      </p:sp>
      <p:sp>
        <p:nvSpPr>
          <p:cNvPr id="74"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5022561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7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3200" b="0" strike="noStrike" spc="-1">
              <a:latin typeface="Arial"/>
            </a:endParaRPr>
          </a:p>
        </p:txBody>
      </p:sp>
      <p:sp>
        <p:nvSpPr>
          <p:cNvPr id="77"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3200" b="0" strike="noStrike" spc="-1">
              <a:latin typeface="Arial"/>
            </a:endParaRPr>
          </a:p>
        </p:txBody>
      </p:sp>
      <p:sp>
        <p:nvSpPr>
          <p:cNvPr id="78"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42903167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79"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80"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s-ES" sz="3200" b="0" strike="noStrike" spc="-1">
              <a:latin typeface="Arial"/>
            </a:endParaRPr>
          </a:p>
        </p:txBody>
      </p:sp>
      <p:sp>
        <p:nvSpPr>
          <p:cNvPr id="81"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41574827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82"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83"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s-ES" sz="3200" b="0" strike="noStrike" spc="-1">
              <a:latin typeface="Arial"/>
            </a:endParaRPr>
          </a:p>
        </p:txBody>
      </p:sp>
      <p:sp>
        <p:nvSpPr>
          <p:cNvPr id="84"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s-ES" sz="3200" b="0" strike="noStrike" spc="-1">
              <a:latin typeface="Arial"/>
            </a:endParaRPr>
          </a:p>
        </p:txBody>
      </p:sp>
      <p:sp>
        <p:nvSpPr>
          <p:cNvPr id="85"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s-ES" sz="3200" b="0" strike="noStrike" spc="-1">
              <a:latin typeface="Arial"/>
            </a:endParaRPr>
          </a:p>
        </p:txBody>
      </p:sp>
      <p:sp>
        <p:nvSpPr>
          <p:cNvPr id="86"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26894390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87" name="PlaceHolder 1"/>
          <p:cNvSpPr>
            <a:spLocks noGrp="1"/>
          </p:cNvSpPr>
          <p:nvPr>
            <p:ph type="title"/>
          </p:nvPr>
        </p:nvSpPr>
        <p:spPr>
          <a:xfrm>
            <a:off x="457200" y="205200"/>
            <a:ext cx="8229240" cy="858600"/>
          </a:xfrm>
          <a:prstGeom prst="rect">
            <a:avLst/>
          </a:prstGeom>
        </p:spPr>
        <p:txBody>
          <a:bodyPr lIns="0" tIns="0" rIns="0" bIns="0" anchor="ctr">
            <a:noAutofit/>
          </a:bodyPr>
          <a:lstStyle/>
          <a:p>
            <a:pPr algn="ctr"/>
            <a:endParaRPr lang="es-ES" sz="4400" b="0" strike="noStrike" spc="-1">
              <a:latin typeface="Arial"/>
            </a:endParaRPr>
          </a:p>
        </p:txBody>
      </p:sp>
      <p:sp>
        <p:nvSpPr>
          <p:cNvPr id="88"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s-ES" sz="3200" b="0" strike="noStrike" spc="-1">
              <a:latin typeface="Arial"/>
            </a:endParaRPr>
          </a:p>
        </p:txBody>
      </p:sp>
      <p:sp>
        <p:nvSpPr>
          <p:cNvPr id="89"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s-ES" sz="3200" b="0" strike="noStrike" spc="-1">
              <a:latin typeface="Arial"/>
            </a:endParaRPr>
          </a:p>
        </p:txBody>
      </p:sp>
      <p:sp>
        <p:nvSpPr>
          <p:cNvPr id="90"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s-ES" sz="3200" b="0" strike="noStrike" spc="-1">
              <a:latin typeface="Arial"/>
            </a:endParaRPr>
          </a:p>
        </p:txBody>
      </p:sp>
      <p:sp>
        <p:nvSpPr>
          <p:cNvPr id="91"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s-ES" sz="3200" b="0" strike="noStrike" spc="-1">
              <a:latin typeface="Arial"/>
            </a:endParaRPr>
          </a:p>
        </p:txBody>
      </p:sp>
      <p:sp>
        <p:nvSpPr>
          <p:cNvPr id="92"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s-ES" sz="3200" b="0" strike="noStrike" spc="-1">
              <a:latin typeface="Arial"/>
            </a:endParaRPr>
          </a:p>
        </p:txBody>
      </p:sp>
      <p:sp>
        <p:nvSpPr>
          <p:cNvPr id="93"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s-ES" sz="3200" b="0" strike="noStrike" spc="-1">
              <a:latin typeface="Arial"/>
            </a:endParaRPr>
          </a:p>
        </p:txBody>
      </p:sp>
    </p:spTree>
    <p:extLst>
      <p:ext uri="{BB962C8B-B14F-4D97-AF65-F5344CB8AC3E}">
        <p14:creationId xmlns:p14="http://schemas.microsoft.com/office/powerpoint/2010/main" val="29569376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endParaRPr lang="es-ES" dirty="0"/>
          </a:p>
        </p:txBody>
      </p:sp>
      <p:sp>
        <p:nvSpPr>
          <p:cNvPr id="5" name="4 Marcador de pie de página"/>
          <p:cNvSpPr>
            <a:spLocks noGrp="1"/>
          </p:cNvSpPr>
          <p:nvPr>
            <p:ph type="ftr" sz="quarter" idx="11"/>
          </p:nvPr>
        </p:nvSpPr>
        <p:spPr/>
        <p:txBody>
          <a:bodyPr/>
          <a:lstStyle>
            <a:lvl1pPr>
              <a:defRPr/>
            </a:lvl1pPr>
          </a:lstStyle>
          <a:p>
            <a:endParaRPr lang="es-ES" dirty="0"/>
          </a:p>
        </p:txBody>
      </p:sp>
      <p:sp>
        <p:nvSpPr>
          <p:cNvPr id="6" name="5 Marcador de número de diapositiva"/>
          <p:cNvSpPr>
            <a:spLocks noGrp="1"/>
          </p:cNvSpPr>
          <p:nvPr>
            <p:ph type="sldNum" sz="quarter" idx="12"/>
          </p:nvPr>
        </p:nvSpPr>
        <p:spPr/>
        <p:txBody>
          <a:bodyPr/>
          <a:lstStyle>
            <a:lvl1pPr>
              <a:defRPr/>
            </a:lvl1pPr>
          </a:lstStyle>
          <a:p>
            <a:fld id="{1C9BE66F-0429-4A27-81D7-C1A05035306B}" type="slidenum">
              <a:rPr lang="es-ES"/>
              <a:pPr/>
              <a:t>‹Nr.›</a:t>
            </a:fld>
            <a:endParaRPr lang="es-ES" dirty="0"/>
          </a:p>
        </p:txBody>
      </p:sp>
    </p:spTree>
    <p:extLst>
      <p:ext uri="{BB962C8B-B14F-4D97-AF65-F5344CB8AC3E}">
        <p14:creationId xmlns:p14="http://schemas.microsoft.com/office/powerpoint/2010/main" val="3210257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re CEA isa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7B68EE-BDE5-1E9D-059B-83B50A6ACD18}"/>
              </a:ext>
            </a:extLst>
          </p:cNvPr>
          <p:cNvSpPr>
            <a:spLocks noGrp="1"/>
          </p:cNvSpPr>
          <p:nvPr>
            <p:ph type="ctrTitle"/>
          </p:nvPr>
        </p:nvSpPr>
        <p:spPr>
          <a:xfrm>
            <a:off x="548879" y="1990725"/>
            <a:ext cx="3970734" cy="1190626"/>
          </a:xfrm>
        </p:spPr>
        <p:txBody>
          <a:bodyPr anchor="b">
            <a:normAutofit/>
          </a:bodyPr>
          <a:lstStyle>
            <a:lvl1pPr algn="l">
              <a:defRPr sz="2100">
                <a:solidFill>
                  <a:schemeClr val="tx1"/>
                </a:solidFill>
              </a:defRPr>
            </a:lvl1pPr>
          </a:lstStyle>
          <a:p>
            <a:r>
              <a:rPr lang="fr-FR"/>
              <a:t>Modifiez le style du titre</a:t>
            </a:r>
            <a:endParaRPr lang="fr-FR" dirty="0"/>
          </a:p>
        </p:txBody>
      </p:sp>
      <p:sp>
        <p:nvSpPr>
          <p:cNvPr id="3" name="Sous-titre 2">
            <a:extLst>
              <a:ext uri="{FF2B5EF4-FFF2-40B4-BE49-F238E27FC236}">
                <a16:creationId xmlns:a16="http://schemas.microsoft.com/office/drawing/2014/main" id="{34801059-2D37-8D44-42C0-ED46DE3A8FD1}"/>
              </a:ext>
            </a:extLst>
          </p:cNvPr>
          <p:cNvSpPr>
            <a:spLocks noGrp="1"/>
          </p:cNvSpPr>
          <p:nvPr>
            <p:ph type="subTitle" idx="1"/>
          </p:nvPr>
        </p:nvSpPr>
        <p:spPr>
          <a:xfrm>
            <a:off x="548879" y="3196828"/>
            <a:ext cx="3970734" cy="1241822"/>
          </a:xfrm>
        </p:spPr>
        <p:txBody>
          <a:bodyPr>
            <a:normAutofit/>
          </a:bodyPr>
          <a:lstStyle>
            <a:lvl1pPr marL="0" indent="0" algn="l">
              <a:buNone/>
              <a:defRPr sz="15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fr-FR" dirty="0"/>
          </a:p>
        </p:txBody>
      </p:sp>
      <p:pic>
        <p:nvPicPr>
          <p:cNvPr id="5" name="Logo CEA liten">
            <a:extLst>
              <a:ext uri="{FF2B5EF4-FFF2-40B4-BE49-F238E27FC236}">
                <a16:creationId xmlns:a16="http://schemas.microsoft.com/office/drawing/2014/main" id="{59C151D8-9F2F-A121-360A-4DC7F82C413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48879" y="546498"/>
            <a:ext cx="3040199" cy="1353749"/>
          </a:xfrm>
          <a:prstGeom prst="rect">
            <a:avLst/>
          </a:prstGeom>
        </p:spPr>
      </p:pic>
      <p:sp>
        <p:nvSpPr>
          <p:cNvPr id="6" name="ZoneTexte 5">
            <a:extLst>
              <a:ext uri="{FF2B5EF4-FFF2-40B4-BE49-F238E27FC236}">
                <a16:creationId xmlns:a16="http://schemas.microsoft.com/office/drawing/2014/main" id="{810AE585-3E8A-32F0-6876-68FBB4218CF7}"/>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CEA </a:t>
            </a:r>
            <a:r>
              <a:rPr lang="fr-FR" sz="900" dirty="0" err="1">
                <a:solidFill>
                  <a:schemeClr val="bg1">
                    <a:lumMod val="50000"/>
                  </a:schemeClr>
                </a:solidFill>
              </a:rPr>
              <a:t>isas</a:t>
            </a:r>
            <a:endParaRPr lang="fr-FR" sz="900" dirty="0">
              <a:solidFill>
                <a:schemeClr val="bg1">
                  <a:lumMod val="50000"/>
                </a:schemeClr>
              </a:solidFill>
            </a:endParaRPr>
          </a:p>
        </p:txBody>
      </p:sp>
      <p:sp>
        <p:nvSpPr>
          <p:cNvPr id="4" name="Rectangle 3">
            <a:extLst>
              <a:ext uri="{FF2B5EF4-FFF2-40B4-BE49-F238E27FC236}">
                <a16:creationId xmlns:a16="http://schemas.microsoft.com/office/drawing/2014/main" id="{D710377C-96DE-1F86-CAD9-8510009CBC0B}"/>
              </a:ext>
            </a:extLst>
          </p:cNvPr>
          <p:cNvSpPr/>
          <p:nvPr userDrawn="1"/>
        </p:nvSpPr>
        <p:spPr>
          <a:xfrm>
            <a:off x="8386762" y="2372453"/>
            <a:ext cx="757238" cy="3985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a:endParaRPr lang="fr-FR" sz="1350" dirty="0"/>
          </a:p>
        </p:txBody>
      </p:sp>
      <p:pic>
        <p:nvPicPr>
          <p:cNvPr id="11" name="PATTERN CARRE DECAL">
            <a:extLst>
              <a:ext uri="{FF2B5EF4-FFF2-40B4-BE49-F238E27FC236}">
                <a16:creationId xmlns:a16="http://schemas.microsoft.com/office/drawing/2014/main" id="{B904F070-A99F-1AC0-845C-9E05CE6DF32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9705" r="39861" b="-1"/>
          <a:stretch/>
        </p:blipFill>
        <p:spPr>
          <a:xfrm>
            <a:off x="7054722" y="-1"/>
            <a:ext cx="2089278" cy="1835728"/>
          </a:xfrm>
          <a:prstGeom prst="rect">
            <a:avLst/>
          </a:prstGeom>
        </p:spPr>
      </p:pic>
    </p:spTree>
    <p:extLst>
      <p:ext uri="{BB962C8B-B14F-4D97-AF65-F5344CB8AC3E}">
        <p14:creationId xmlns:p14="http://schemas.microsoft.com/office/powerpoint/2010/main" val="38388454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899"/>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sz="1800"/>
          </a:p>
        </p:txBody>
      </p:sp>
      <p:sp>
        <p:nvSpPr>
          <p:cNvPr id="6" name="Picture Placeholder 10"/>
          <p:cNvSpPr>
            <a:spLocks noGrp="1"/>
          </p:cNvSpPr>
          <p:nvPr>
            <p:ph type="pic" sz="quarter" idx="10" hasCustomPrompt="1"/>
          </p:nvPr>
        </p:nvSpPr>
        <p:spPr>
          <a:xfrm>
            <a:off x="395538"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800" dirty="0"/>
          </a:p>
        </p:txBody>
      </p:sp>
      <p:grpSp>
        <p:nvGrpSpPr>
          <p:cNvPr id="9" name="Group 8"/>
          <p:cNvGrpSpPr/>
          <p:nvPr userDrawn="1"/>
        </p:nvGrpSpPr>
        <p:grpSpPr>
          <a:xfrm>
            <a:off x="18230284" y="30189673"/>
            <a:ext cx="9924896" cy="133623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18382684" y="30303973"/>
            <a:ext cx="9924896" cy="133623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18535084" y="30418273"/>
            <a:ext cx="9924896" cy="133623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18687484" y="30532573"/>
            <a:ext cx="9924896" cy="133623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846"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25" name="Bild 13" descr="EU_und_Text.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96" y="4320001"/>
            <a:ext cx="3456384" cy="649203"/>
          </a:xfrm>
          <a:prstGeom prst="rect">
            <a:avLst/>
          </a:prstGeom>
        </p:spPr>
      </p:pic>
    </p:spTree>
    <p:extLst>
      <p:ext uri="{BB962C8B-B14F-4D97-AF65-F5344CB8AC3E}">
        <p14:creationId xmlns:p14="http://schemas.microsoft.com/office/powerpoint/2010/main" val="35220848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n>
                <a:noFill/>
              </a:ln>
              <a:effectLst/>
            </a:endParaRPr>
          </a:p>
        </p:txBody>
      </p:sp>
      <p:sp>
        <p:nvSpPr>
          <p:cNvPr id="2" name="Title 1"/>
          <p:cNvSpPr>
            <a:spLocks noGrp="1"/>
          </p:cNvSpPr>
          <p:nvPr>
            <p:ph type="title"/>
          </p:nvPr>
        </p:nvSpPr>
        <p:spPr>
          <a:xfrm>
            <a:off x="-61609" y="82253"/>
            <a:ext cx="7543800" cy="342900"/>
          </a:xfr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457200" y="1254135"/>
            <a:ext cx="8229600" cy="3672408"/>
          </a:xfrm>
        </p:spPr>
        <p:txBody>
          <a:bodyPr/>
          <a:lstStyle>
            <a:lvl1pPr marL="342892" indent="-342892">
              <a:buFont typeface="Wingdings" panose="05000000000000000000" pitchFamily="2" charset="2"/>
              <a:buChar char="§"/>
              <a:defRPr sz="2400">
                <a:latin typeface="Arial" panose="020B0604020202020204" pitchFamily="34" charset="0"/>
                <a:cs typeface="Arial" panose="020B0604020202020204" pitchFamily="34" charset="0"/>
              </a:defRPr>
            </a:lvl1pPr>
            <a:lvl2pPr marL="742931" indent="-285743">
              <a:buFont typeface="Wingdings" panose="05000000000000000000" pitchFamily="2" charset="2"/>
              <a:buChar char="§"/>
              <a:defRPr sz="2000">
                <a:latin typeface="Arial" panose="020B0604020202020204" pitchFamily="34" charset="0"/>
                <a:cs typeface="Arial" panose="020B0604020202020204" pitchFamily="34" charset="0"/>
              </a:defRPr>
            </a:lvl2pPr>
            <a:lvl3pPr marL="1142972" indent="-228594">
              <a:buFont typeface="Wingdings" panose="05000000000000000000" pitchFamily="2" charset="2"/>
              <a:buChar char="§"/>
              <a:defRPr sz="18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467545"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Helsinki | 09.04.2024 | Page </a:t>
            </a:r>
            <a:fld id="{6A6D9FA1-99C7-4910-8E32-B85D378B0060}" type="slidenum">
              <a:rPr lang="en-GB" smtClean="0"/>
              <a:pPr algn="r"/>
              <a:t>‹Nr.›</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7" y="70181"/>
            <a:ext cx="367958" cy="373990"/>
          </a:xfrm>
          <a:prstGeom prst="rect">
            <a:avLst/>
          </a:prstGeom>
        </p:spPr>
      </p:pic>
    </p:spTree>
    <p:extLst>
      <p:ext uri="{BB962C8B-B14F-4D97-AF65-F5344CB8AC3E}">
        <p14:creationId xmlns:p14="http://schemas.microsoft.com/office/powerpoint/2010/main" val="238571029"/>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 DIFFER image">
    <p:spTree>
      <p:nvGrpSpPr>
        <p:cNvPr id="1" name=""/>
        <p:cNvGrpSpPr/>
        <p:nvPr/>
      </p:nvGrpSpPr>
      <p:grpSpPr>
        <a:xfrm>
          <a:off x="0" y="0"/>
          <a:ext cx="0" cy="0"/>
          <a:chOff x="0" y="0"/>
          <a:chExt cx="0" cy="0"/>
        </a:xfrm>
      </p:grpSpPr>
      <p:pic>
        <p:nvPicPr>
          <p:cNvPr id="29" name="Afbeelding 28" descr="Afbeelding met vrouw, natuur&#10;&#10;Automatisch gegenereerde beschrijving">
            <a:extLst>
              <a:ext uri="{FF2B5EF4-FFF2-40B4-BE49-F238E27FC236}">
                <a16:creationId xmlns:a16="http://schemas.microsoft.com/office/drawing/2014/main" id="{1203F8B5-AD8A-4768-A6A3-D70AF85160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163" r="19211" b="444"/>
          <a:stretch/>
        </p:blipFill>
        <p:spPr>
          <a:xfrm>
            <a:off x="0" y="1"/>
            <a:ext cx="5581860" cy="5150184"/>
          </a:xfrm>
          <a:prstGeom prst="rect">
            <a:avLst/>
          </a:prstGeom>
        </p:spPr>
      </p:pic>
      <p:pic>
        <p:nvPicPr>
          <p:cNvPr id="23" name="Afbeelding 22" descr="Afbeelding met persoon, man, binnen, muziek&#10;&#10;Automatisch gegenereerde beschrijving">
            <a:extLst>
              <a:ext uri="{FF2B5EF4-FFF2-40B4-BE49-F238E27FC236}">
                <a16:creationId xmlns:a16="http://schemas.microsoft.com/office/drawing/2014/main" id="{6228B1B6-3BA3-497C-95ED-C5D9105C241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0"/>
          <a:stretch/>
        </p:blipFill>
        <p:spPr>
          <a:xfrm>
            <a:off x="5581860" y="1"/>
            <a:ext cx="3562140" cy="5150184"/>
          </a:xfrm>
          <a:prstGeom prst="rect">
            <a:avLst/>
          </a:prstGeom>
        </p:spPr>
      </p:pic>
      <p:pic>
        <p:nvPicPr>
          <p:cNvPr id="5" name="Afbeelding 4">
            <a:extLst>
              <a:ext uri="{FF2B5EF4-FFF2-40B4-BE49-F238E27FC236}">
                <a16:creationId xmlns:a16="http://schemas.microsoft.com/office/drawing/2014/main" id="{0A919639-1D0D-4ED2-8C87-3E7DAE59608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5254767" y="2243734"/>
            <a:ext cx="657951" cy="656097"/>
          </a:xfrm>
          <a:prstGeom prst="rect">
            <a:avLst/>
          </a:prstGeom>
        </p:spPr>
      </p:pic>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267916" y="618490"/>
            <a:ext cx="5217184" cy="1057553"/>
          </a:xfrm>
          <a:prstGeom prst="rect">
            <a:avLst/>
          </a:prstGeom>
        </p:spPr>
        <p:txBody>
          <a:bodyPr bIns="0" anchor="t">
            <a:normAutofit/>
          </a:bodyPr>
          <a:lstStyle>
            <a:lvl1pPr algn="l">
              <a:defRPr sz="3150">
                <a:solidFill>
                  <a:schemeClr val="bg1"/>
                </a:solidFill>
              </a:defRPr>
            </a:lvl1pPr>
          </a:lstStyle>
          <a:p>
            <a:r>
              <a:rPr lang="en-GB" noProof="0" dirty="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267916" y="1735974"/>
            <a:ext cx="5217184" cy="797320"/>
          </a:xfrm>
        </p:spPr>
        <p:txBody>
          <a:bodyPr lIns="90000">
            <a:normAutofit/>
          </a:bodyPr>
          <a:lstStyle>
            <a:lvl1pPr marL="0" indent="0" algn="l">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a:t>Click to edit subtitle style</a:t>
            </a:r>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267915" y="3172824"/>
            <a:ext cx="5217184" cy="273844"/>
          </a:xfrm>
        </p:spPr>
        <p:txBody>
          <a:bodyPr vert="horz" lIns="91440" tIns="45720" rIns="0" bIns="45720" rtlCol="0" anchor="ctr">
            <a:noAutofit/>
          </a:bodyPr>
          <a:lstStyle>
            <a:lvl1pPr>
              <a:lnSpc>
                <a:spcPct val="100000"/>
              </a:lnSpc>
              <a:defRPr lang="nl-NL" sz="1650" spc="-30" baseline="0" dirty="0">
                <a:solidFill>
                  <a:schemeClr val="bg1"/>
                </a:solidFill>
              </a:defRPr>
            </a:lvl1pPr>
          </a:lstStyle>
          <a:p>
            <a:pPr lvl="0"/>
            <a:r>
              <a:rPr lang="en-US" noProof="0" dirty="0"/>
              <a:t>Click to edit author/presenter + congress/event name</a:t>
            </a:r>
            <a:endParaRPr lang="en-GB" noProof="0" dirty="0"/>
          </a:p>
        </p:txBody>
      </p:sp>
      <p:pic>
        <p:nvPicPr>
          <p:cNvPr id="19" name="Afbeelding 18">
            <a:extLst>
              <a:ext uri="{FF2B5EF4-FFF2-40B4-BE49-F238E27FC236}">
                <a16:creationId xmlns:a16="http://schemas.microsoft.com/office/drawing/2014/main" id="{2834D921-AC8F-463B-AA39-12AC9CC520B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74268" y="4396672"/>
            <a:ext cx="300053" cy="486000"/>
          </a:xfrm>
          <a:prstGeom prst="rect">
            <a:avLst/>
          </a:prstGeom>
        </p:spPr>
      </p:pic>
      <p:pic>
        <p:nvPicPr>
          <p:cNvPr id="21" name="Afbeelding 20">
            <a:extLst>
              <a:ext uri="{FF2B5EF4-FFF2-40B4-BE49-F238E27FC236}">
                <a16:creationId xmlns:a16="http://schemas.microsoft.com/office/drawing/2014/main" id="{4612B797-2D80-458A-8656-9BC30F61DB4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6757" y="4359773"/>
            <a:ext cx="2143443" cy="534600"/>
          </a:xfrm>
          <a:prstGeom prst="rect">
            <a:avLst/>
          </a:prstGeom>
        </p:spPr>
      </p:pic>
    </p:spTree>
    <p:extLst>
      <p:ext uri="{BB962C8B-B14F-4D97-AF65-F5344CB8AC3E}">
        <p14:creationId xmlns:p14="http://schemas.microsoft.com/office/powerpoint/2010/main" val="871936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 image">
    <p:spTree>
      <p:nvGrpSpPr>
        <p:cNvPr id="1" name=""/>
        <p:cNvGrpSpPr/>
        <p:nvPr/>
      </p:nvGrpSpPr>
      <p:grpSpPr>
        <a:xfrm>
          <a:off x="0" y="0"/>
          <a:ext cx="0" cy="0"/>
          <a:chOff x="0" y="0"/>
          <a:chExt cx="0" cy="0"/>
        </a:xfrm>
      </p:grpSpPr>
      <p:pic>
        <p:nvPicPr>
          <p:cNvPr id="14" name="Afbeelding 13" descr="Afbeelding met vrouw, natuur&#10;&#10;Automatisch gegenereerde beschrijving">
            <a:extLst>
              <a:ext uri="{FF2B5EF4-FFF2-40B4-BE49-F238E27FC236}">
                <a16:creationId xmlns:a16="http://schemas.microsoft.com/office/drawing/2014/main" id="{D24B0FD2-50B1-4E9E-B581-60D0B43C082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163" t="1" r="19211" b="573"/>
          <a:stretch/>
        </p:blipFill>
        <p:spPr>
          <a:xfrm>
            <a:off x="0" y="1"/>
            <a:ext cx="5581860" cy="5143498"/>
          </a:xfrm>
          <a:prstGeom prst="rect">
            <a:avLst/>
          </a:prstGeom>
        </p:spPr>
      </p:pic>
      <p:sp>
        <p:nvSpPr>
          <p:cNvPr id="13" name="Tijdelijke aanduiding voor afbeelding 13">
            <a:extLst>
              <a:ext uri="{FF2B5EF4-FFF2-40B4-BE49-F238E27FC236}">
                <a16:creationId xmlns:a16="http://schemas.microsoft.com/office/drawing/2014/main" id="{8348C8AD-30F2-4959-B764-735D70C0CE02}"/>
              </a:ext>
            </a:extLst>
          </p:cNvPr>
          <p:cNvSpPr>
            <a:spLocks noGrp="1"/>
          </p:cNvSpPr>
          <p:nvPr>
            <p:ph type="pic" sz="quarter" idx="13" hasCustomPrompt="1"/>
          </p:nvPr>
        </p:nvSpPr>
        <p:spPr>
          <a:xfrm>
            <a:off x="5581861" y="2"/>
            <a:ext cx="3561356" cy="5143497"/>
          </a:xfrm>
          <a:solidFill>
            <a:schemeClr val="accent6">
              <a:lumMod val="40000"/>
              <a:lumOff val="60000"/>
            </a:schemeClr>
          </a:solidFill>
        </p:spPr>
        <p:txBody>
          <a:bodyPr bIns="972000" anchor="ctr"/>
          <a:lstStyle>
            <a:lvl1pPr algn="ctr">
              <a:defRPr/>
            </a:lvl1pPr>
          </a:lstStyle>
          <a:p>
            <a:r>
              <a:rPr lang="nl-NL" dirty="0"/>
              <a:t>Click icon </a:t>
            </a:r>
            <a:r>
              <a:rPr lang="nl-NL" dirty="0" err="1"/>
              <a:t>to</a:t>
            </a:r>
            <a:r>
              <a:rPr lang="nl-NL" dirty="0"/>
              <a:t> </a:t>
            </a:r>
            <a:r>
              <a:rPr lang="nl-NL" dirty="0" err="1"/>
              <a:t>add</a:t>
            </a:r>
            <a:r>
              <a:rPr lang="nl-NL" dirty="0"/>
              <a:t> image</a:t>
            </a:r>
          </a:p>
        </p:txBody>
      </p:sp>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267916" y="618490"/>
            <a:ext cx="5216400" cy="1057553"/>
          </a:xfrm>
          <a:prstGeom prst="rect">
            <a:avLst/>
          </a:prstGeom>
        </p:spPr>
        <p:txBody>
          <a:bodyPr bIns="0" anchor="t">
            <a:normAutofit/>
          </a:bodyPr>
          <a:lstStyle>
            <a:lvl1pPr algn="l">
              <a:defRPr sz="3150">
                <a:solidFill>
                  <a:schemeClr val="bg1"/>
                </a:solidFill>
              </a:defRPr>
            </a:lvl1pPr>
          </a:lstStyle>
          <a:p>
            <a:r>
              <a:rPr lang="en-GB" noProof="0" dirty="0"/>
              <a:t>Click to edit title style</a:t>
            </a:r>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267916" y="1735974"/>
            <a:ext cx="5216400" cy="797320"/>
          </a:xfrm>
        </p:spPr>
        <p:txBody>
          <a:bodyPr lIns="90000">
            <a:normAutofit/>
          </a:bodyPr>
          <a:lstStyle>
            <a:lvl1pPr marL="0" indent="0" algn="l">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noProof="0" dirty="0"/>
              <a:t>Click to edit subtitle style</a:t>
            </a:r>
          </a:p>
        </p:txBody>
      </p:sp>
      <p:sp>
        <p:nvSpPr>
          <p:cNvPr id="16" name="Tijdelijke aanduiding voor afbeelding 15">
            <a:extLst>
              <a:ext uri="{FF2B5EF4-FFF2-40B4-BE49-F238E27FC236}">
                <a16:creationId xmlns:a16="http://schemas.microsoft.com/office/drawing/2014/main" id="{3193C12A-70D9-45BF-8613-5D1F7A788ADF}"/>
              </a:ext>
            </a:extLst>
          </p:cNvPr>
          <p:cNvSpPr>
            <a:spLocks noGrp="1"/>
          </p:cNvSpPr>
          <p:nvPr>
            <p:ph type="pic" sz="quarter" idx="14"/>
          </p:nvPr>
        </p:nvSpPr>
        <p:spPr>
          <a:xfrm>
            <a:off x="5253843" y="2243733"/>
            <a:ext cx="656035" cy="656035"/>
          </a:xfrm>
          <a:prstGeom prst="ellipse">
            <a:avLst/>
          </a:prstGeom>
          <a:blipFill dpi="0" rotWithShape="1">
            <a:blip r:embed="rId3">
              <a:extLst>
                <a:ext uri="{28A0092B-C50C-407E-A947-70E740481C1C}">
                  <a14:useLocalDpi xmlns:a14="http://schemas.microsoft.com/office/drawing/2010/main" val="0"/>
                </a:ext>
              </a:extLst>
            </a:blip>
            <a:srcRect/>
            <a:stretch>
              <a:fillRect l="-1034" t="-1034" r="-1034" b="-1034"/>
            </a:stretch>
          </a:blipFill>
        </p:spPr>
        <p:txBody>
          <a:bodyPr>
            <a:normAutofit/>
          </a:bodyPr>
          <a:lstStyle>
            <a:lvl1pPr>
              <a:defRPr sz="100">
                <a:solidFill>
                  <a:schemeClr val="accent4"/>
                </a:solidFill>
              </a:defRPr>
            </a:lvl1pPr>
          </a:lstStyle>
          <a:p>
            <a:r>
              <a:rPr lang="en-US"/>
              <a:t>Click icon to add picture</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267916" y="3172824"/>
            <a:ext cx="5216400" cy="273844"/>
          </a:xfrm>
        </p:spPr>
        <p:txBody>
          <a:bodyPr vert="horz" lIns="91440" tIns="45720" rIns="0" bIns="45720" rtlCol="0" anchor="ctr">
            <a:noAutofit/>
          </a:bodyPr>
          <a:lstStyle>
            <a:lvl1pPr>
              <a:lnSpc>
                <a:spcPct val="100000"/>
              </a:lnSpc>
              <a:defRPr lang="nl-NL" sz="1650" spc="-30" baseline="0" dirty="0">
                <a:solidFill>
                  <a:schemeClr val="bg1"/>
                </a:solidFill>
              </a:defRPr>
            </a:lvl1pPr>
          </a:lstStyle>
          <a:p>
            <a:pPr lvl="0"/>
            <a:r>
              <a:rPr lang="en-US" noProof="0" dirty="0"/>
              <a:t>Click to edit author/presenter + congress/event name</a:t>
            </a:r>
            <a:endParaRPr lang="en-GB" noProof="0" dirty="0"/>
          </a:p>
        </p:txBody>
      </p:sp>
      <p:sp>
        <p:nvSpPr>
          <p:cNvPr id="7" name="Tekstvak 6">
            <a:extLst>
              <a:ext uri="{FF2B5EF4-FFF2-40B4-BE49-F238E27FC236}">
                <a16:creationId xmlns:a16="http://schemas.microsoft.com/office/drawing/2014/main" id="{573C954B-EDA7-46C1-8124-37023E7C4094}"/>
              </a:ext>
            </a:extLst>
          </p:cNvPr>
          <p:cNvSpPr txBox="1"/>
          <p:nvPr userDrawn="1"/>
        </p:nvSpPr>
        <p:spPr>
          <a:xfrm>
            <a:off x="9390253" y="1568768"/>
            <a:ext cx="2196435" cy="577081"/>
          </a:xfrm>
          <a:prstGeom prst="rect">
            <a:avLst/>
          </a:prstGeom>
          <a:noFill/>
        </p:spPr>
        <p:txBody>
          <a:bodyPr wrap="none" rtlCol="0">
            <a:spAutoFit/>
          </a:bodyPr>
          <a:lstStyle/>
          <a:p>
            <a:r>
              <a:rPr lang="en-US" sz="1050" noProof="0" dirty="0">
                <a:solidFill>
                  <a:schemeClr val="bg2"/>
                </a:solidFill>
              </a:rPr>
              <a:t>After replacing a new image:</a:t>
            </a:r>
            <a:br>
              <a:rPr lang="en-US" sz="1050" noProof="0" dirty="0">
                <a:solidFill>
                  <a:schemeClr val="bg2"/>
                </a:solidFill>
              </a:rPr>
            </a:br>
            <a:r>
              <a:rPr lang="en-US" sz="1050" noProof="0" dirty="0">
                <a:solidFill>
                  <a:schemeClr val="bg2"/>
                </a:solidFill>
              </a:rPr>
              <a:t>make sure to arrange the image</a:t>
            </a:r>
            <a:br>
              <a:rPr lang="en-US" sz="1050" noProof="0" dirty="0">
                <a:solidFill>
                  <a:schemeClr val="bg2"/>
                </a:solidFill>
              </a:rPr>
            </a:br>
            <a:r>
              <a:rPr lang="en-US" sz="1050" noProof="0" dirty="0">
                <a:solidFill>
                  <a:schemeClr val="bg2"/>
                </a:solidFill>
              </a:rPr>
              <a:t>to the background</a:t>
            </a:r>
            <a:endParaRPr lang="en-GB" sz="1050" noProof="0" dirty="0">
              <a:solidFill>
                <a:schemeClr val="bg2"/>
              </a:solidFill>
            </a:endParaRPr>
          </a:p>
        </p:txBody>
      </p:sp>
      <p:sp>
        <p:nvSpPr>
          <p:cNvPr id="8" name="Gelijkbenige driehoek 7">
            <a:extLst>
              <a:ext uri="{FF2B5EF4-FFF2-40B4-BE49-F238E27FC236}">
                <a16:creationId xmlns:a16="http://schemas.microsoft.com/office/drawing/2014/main" id="{F644F6F0-F868-4D96-BF15-2A9A62232E43}"/>
              </a:ext>
            </a:extLst>
          </p:cNvPr>
          <p:cNvSpPr/>
          <p:nvPr userDrawn="1"/>
        </p:nvSpPr>
        <p:spPr>
          <a:xfrm rot="16200000">
            <a:off x="9229528" y="1644294"/>
            <a:ext cx="162878" cy="14041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ekstvak 17">
            <a:extLst>
              <a:ext uri="{FF2B5EF4-FFF2-40B4-BE49-F238E27FC236}">
                <a16:creationId xmlns:a16="http://schemas.microsoft.com/office/drawing/2014/main" id="{61A12CD1-BB55-41C1-88B2-DD14F67E56B8}"/>
              </a:ext>
            </a:extLst>
          </p:cNvPr>
          <p:cNvSpPr txBox="1"/>
          <p:nvPr userDrawn="1"/>
        </p:nvSpPr>
        <p:spPr>
          <a:xfrm>
            <a:off x="9390253" y="2451735"/>
            <a:ext cx="1680268" cy="415498"/>
          </a:xfrm>
          <a:prstGeom prst="rect">
            <a:avLst/>
          </a:prstGeom>
          <a:noFill/>
        </p:spPr>
        <p:txBody>
          <a:bodyPr wrap="none" rtlCol="0">
            <a:spAutoFit/>
          </a:bodyPr>
          <a:lstStyle/>
          <a:p>
            <a:r>
              <a:rPr lang="en-GB" sz="1050" noProof="0" dirty="0">
                <a:solidFill>
                  <a:schemeClr val="bg2"/>
                </a:solidFill>
              </a:rPr>
              <a:t>Don’t add an image,</a:t>
            </a:r>
            <a:br>
              <a:rPr lang="en-GB" sz="1050" noProof="0" dirty="0">
                <a:solidFill>
                  <a:schemeClr val="bg2"/>
                </a:solidFill>
              </a:rPr>
            </a:br>
            <a:r>
              <a:rPr lang="en-GB" sz="1050" noProof="0" dirty="0">
                <a:solidFill>
                  <a:schemeClr val="bg2"/>
                </a:solidFill>
              </a:rPr>
              <a:t>in the circle placeholder</a:t>
            </a:r>
          </a:p>
        </p:txBody>
      </p:sp>
      <p:sp>
        <p:nvSpPr>
          <p:cNvPr id="20" name="Gelijkbenige driehoek 19">
            <a:extLst>
              <a:ext uri="{FF2B5EF4-FFF2-40B4-BE49-F238E27FC236}">
                <a16:creationId xmlns:a16="http://schemas.microsoft.com/office/drawing/2014/main" id="{C313B7F9-D3D7-4F9D-8883-C8DA1FE9DA02}"/>
              </a:ext>
            </a:extLst>
          </p:cNvPr>
          <p:cNvSpPr/>
          <p:nvPr userDrawn="1"/>
        </p:nvSpPr>
        <p:spPr>
          <a:xfrm rot="16200000">
            <a:off x="9229528" y="2527262"/>
            <a:ext cx="162878" cy="14041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5" name="Afbeelding 14">
            <a:extLst>
              <a:ext uri="{FF2B5EF4-FFF2-40B4-BE49-F238E27FC236}">
                <a16:creationId xmlns:a16="http://schemas.microsoft.com/office/drawing/2014/main" id="{D348F064-CFEC-45FC-8150-01B695E81D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74268" y="4396672"/>
            <a:ext cx="300053" cy="486000"/>
          </a:xfrm>
          <a:prstGeom prst="rect">
            <a:avLst/>
          </a:prstGeom>
        </p:spPr>
      </p:pic>
      <p:pic>
        <p:nvPicPr>
          <p:cNvPr id="23" name="Afbeelding 22">
            <a:extLst>
              <a:ext uri="{FF2B5EF4-FFF2-40B4-BE49-F238E27FC236}">
                <a16:creationId xmlns:a16="http://schemas.microsoft.com/office/drawing/2014/main" id="{510A7D72-80B0-491B-BC56-6C96FFA593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6757" y="4359773"/>
            <a:ext cx="2143443" cy="534600"/>
          </a:xfrm>
          <a:prstGeom prst="rect">
            <a:avLst/>
          </a:prstGeom>
        </p:spPr>
      </p:pic>
    </p:spTree>
    <p:extLst>
      <p:ext uri="{BB962C8B-B14F-4D97-AF65-F5344CB8AC3E}">
        <p14:creationId xmlns:p14="http://schemas.microsoft.com/office/powerpoint/2010/main" val="1087543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End slide - DIFFER image">
    <p:spTree>
      <p:nvGrpSpPr>
        <p:cNvPr id="1" name=""/>
        <p:cNvGrpSpPr/>
        <p:nvPr/>
      </p:nvGrpSpPr>
      <p:grpSpPr>
        <a:xfrm>
          <a:off x="0" y="0"/>
          <a:ext cx="0" cy="0"/>
          <a:chOff x="0" y="0"/>
          <a:chExt cx="0" cy="0"/>
        </a:xfrm>
      </p:grpSpPr>
      <p:pic>
        <p:nvPicPr>
          <p:cNvPr id="13" name="Afbeelding 12" descr="Afbeelding met vrouw, natuur&#10;&#10;Automatisch gegenereerde beschrijving">
            <a:extLst>
              <a:ext uri="{FF2B5EF4-FFF2-40B4-BE49-F238E27FC236}">
                <a16:creationId xmlns:a16="http://schemas.microsoft.com/office/drawing/2014/main" id="{2512E1A9-7D7F-4934-B6A5-91A80978680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293" t="52" r="22941"/>
          <a:stretch/>
        </p:blipFill>
        <p:spPr>
          <a:xfrm flipV="1">
            <a:off x="2836932" y="-1"/>
            <a:ext cx="6310833" cy="5143501"/>
          </a:xfrm>
          <a:prstGeom prst="rect">
            <a:avLst/>
          </a:prstGeom>
        </p:spPr>
      </p:pic>
      <p:pic>
        <p:nvPicPr>
          <p:cNvPr id="23" name="Afbeelding 22" descr="Afbeelding met persoon, man, binnen, muziek&#10;&#10;Automatisch gegenereerde beschrijving">
            <a:extLst>
              <a:ext uri="{FF2B5EF4-FFF2-40B4-BE49-F238E27FC236}">
                <a16:creationId xmlns:a16="http://schemas.microsoft.com/office/drawing/2014/main" id="{6228B1B6-3BA3-497C-95ED-C5D9105C241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588" t="130" r="5952" b="130"/>
          <a:stretch/>
        </p:blipFill>
        <p:spPr>
          <a:xfrm>
            <a:off x="-64818" y="0"/>
            <a:ext cx="2901750" cy="5143500"/>
          </a:xfrm>
          <a:prstGeom prst="rect">
            <a:avLst/>
          </a:prstGeom>
        </p:spPr>
      </p:pic>
      <p:pic>
        <p:nvPicPr>
          <p:cNvPr id="15" name="Afbeelding 14">
            <a:extLst>
              <a:ext uri="{FF2B5EF4-FFF2-40B4-BE49-F238E27FC236}">
                <a16:creationId xmlns:a16="http://schemas.microsoft.com/office/drawing/2014/main" id="{75DAF324-4755-455F-AB75-12704855F781}"/>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2508915" y="2119682"/>
            <a:ext cx="657951" cy="656097"/>
          </a:xfrm>
          <a:prstGeom prst="rect">
            <a:avLst/>
          </a:prstGeom>
        </p:spPr>
      </p:pic>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498187" y="880590"/>
            <a:ext cx="5258861" cy="1057553"/>
          </a:xfrm>
          <a:prstGeom prst="rect">
            <a:avLst/>
          </a:prstGeom>
        </p:spPr>
        <p:txBody>
          <a:bodyPr bIns="0" anchor="t">
            <a:normAutofit/>
          </a:bodyPr>
          <a:lstStyle>
            <a:lvl1pPr algn="l">
              <a:defRPr sz="3150">
                <a:solidFill>
                  <a:schemeClr val="bg1"/>
                </a:solidFill>
              </a:defRPr>
            </a:lvl1pPr>
          </a:lstStyle>
          <a:p>
            <a:r>
              <a:rPr lang="en-US" dirty="0"/>
              <a:t>Click to add take home message (one line)</a:t>
            </a:r>
            <a:endParaRPr lang="en-GB" noProof="0" dirty="0"/>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498187" y="1994320"/>
            <a:ext cx="5258861" cy="797320"/>
          </a:xfrm>
        </p:spPr>
        <p:txBody>
          <a:bodyPr lIns="90000">
            <a:normAutofit/>
          </a:bodyPr>
          <a:lstStyle>
            <a:lvl1pPr marL="0" indent="0" algn="l">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key information</a:t>
            </a:r>
            <a:br>
              <a:rPr lang="en-US" dirty="0"/>
            </a:br>
            <a:r>
              <a:rPr lang="en-US" dirty="0"/>
              <a:t>to be displayed as final slide during discussion </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06068" y="3117149"/>
            <a:ext cx="5250979" cy="273844"/>
          </a:xfrm>
        </p:spPr>
        <p:txBody>
          <a:bodyPr vert="horz" lIns="91440" tIns="45720" rIns="0" bIns="45720" rtlCol="0" anchor="ctr">
            <a:noAutofit/>
          </a:bodyPr>
          <a:lstStyle>
            <a:lvl1pPr>
              <a:lnSpc>
                <a:spcPct val="100000"/>
              </a:lnSpc>
              <a:defRPr lang="nl-NL" sz="1650" spc="-30" baseline="0" dirty="0">
                <a:solidFill>
                  <a:schemeClr val="bg1"/>
                </a:solidFill>
              </a:defRPr>
            </a:lvl1pPr>
          </a:lstStyle>
          <a:p>
            <a:pPr lvl="0"/>
            <a:r>
              <a:rPr lang="en-US" noProof="0" dirty="0"/>
              <a:t>Click to edit author/presenter</a:t>
            </a:r>
            <a:endParaRPr lang="en-GB" noProof="0" dirty="0"/>
          </a:p>
        </p:txBody>
      </p:sp>
      <p:pic>
        <p:nvPicPr>
          <p:cNvPr id="21" name="Afbeelding 20">
            <a:extLst>
              <a:ext uri="{FF2B5EF4-FFF2-40B4-BE49-F238E27FC236}">
                <a16:creationId xmlns:a16="http://schemas.microsoft.com/office/drawing/2014/main" id="{4612B797-2D80-458A-8656-9BC30F61DB4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519119" y="4359773"/>
            <a:ext cx="2143443" cy="534600"/>
          </a:xfrm>
          <a:prstGeom prst="rect">
            <a:avLst/>
          </a:prstGeom>
        </p:spPr>
      </p:pic>
    </p:spTree>
    <p:extLst>
      <p:ext uri="{BB962C8B-B14F-4D97-AF65-F5344CB8AC3E}">
        <p14:creationId xmlns:p14="http://schemas.microsoft.com/office/powerpoint/2010/main" val="1166474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 Custom image">
    <p:spTree>
      <p:nvGrpSpPr>
        <p:cNvPr id="1" name=""/>
        <p:cNvGrpSpPr/>
        <p:nvPr/>
      </p:nvGrpSpPr>
      <p:grpSpPr>
        <a:xfrm>
          <a:off x="0" y="0"/>
          <a:ext cx="0" cy="0"/>
          <a:chOff x="0" y="0"/>
          <a:chExt cx="0" cy="0"/>
        </a:xfrm>
      </p:grpSpPr>
      <p:pic>
        <p:nvPicPr>
          <p:cNvPr id="18" name="Afbeelding 17" descr="Afbeelding met vrouw, natuur&#10;&#10;Automatisch gegenereerde beschrijving">
            <a:extLst>
              <a:ext uri="{FF2B5EF4-FFF2-40B4-BE49-F238E27FC236}">
                <a16:creationId xmlns:a16="http://schemas.microsoft.com/office/drawing/2014/main" id="{87718275-8A91-4D74-8351-1490F1B47B2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9293" t="52" r="22941"/>
          <a:stretch/>
        </p:blipFill>
        <p:spPr>
          <a:xfrm flipV="1">
            <a:off x="2836932" y="-1"/>
            <a:ext cx="6310833" cy="5143501"/>
          </a:xfrm>
          <a:prstGeom prst="rect">
            <a:avLst/>
          </a:prstGeom>
        </p:spPr>
      </p:pic>
      <p:sp>
        <p:nvSpPr>
          <p:cNvPr id="10" name="Tijdelijke aanduiding voor afbeelding 13">
            <a:extLst>
              <a:ext uri="{FF2B5EF4-FFF2-40B4-BE49-F238E27FC236}">
                <a16:creationId xmlns:a16="http://schemas.microsoft.com/office/drawing/2014/main" id="{01026610-305B-4E94-B322-4ED0CB17B61A}"/>
              </a:ext>
            </a:extLst>
          </p:cNvPr>
          <p:cNvSpPr>
            <a:spLocks noGrp="1"/>
          </p:cNvSpPr>
          <p:nvPr>
            <p:ph type="pic" sz="quarter" idx="13" hasCustomPrompt="1"/>
          </p:nvPr>
        </p:nvSpPr>
        <p:spPr>
          <a:xfrm>
            <a:off x="0" y="1"/>
            <a:ext cx="2836932" cy="5143499"/>
          </a:xfrm>
          <a:solidFill>
            <a:schemeClr val="accent6">
              <a:lumMod val="40000"/>
              <a:lumOff val="60000"/>
            </a:schemeClr>
          </a:solidFill>
        </p:spPr>
        <p:txBody>
          <a:bodyPr bIns="972000" anchor="ctr"/>
          <a:lstStyle>
            <a:lvl1pPr algn="ctr">
              <a:defRPr/>
            </a:lvl1pPr>
          </a:lstStyle>
          <a:p>
            <a:r>
              <a:rPr lang="nl-NL" dirty="0"/>
              <a:t>Click icon </a:t>
            </a:r>
            <a:r>
              <a:rPr lang="nl-NL" dirty="0" err="1"/>
              <a:t>to</a:t>
            </a:r>
            <a:r>
              <a:rPr lang="nl-NL" dirty="0"/>
              <a:t> </a:t>
            </a:r>
            <a:r>
              <a:rPr lang="nl-NL" dirty="0" err="1"/>
              <a:t>add</a:t>
            </a:r>
            <a:r>
              <a:rPr lang="nl-NL" dirty="0"/>
              <a:t> image</a:t>
            </a:r>
          </a:p>
        </p:txBody>
      </p:sp>
      <p:sp>
        <p:nvSpPr>
          <p:cNvPr id="2" name="Titel 1">
            <a:extLst>
              <a:ext uri="{FF2B5EF4-FFF2-40B4-BE49-F238E27FC236}">
                <a16:creationId xmlns:a16="http://schemas.microsoft.com/office/drawing/2014/main" id="{EE28AED6-AB27-4CD6-9A3E-9E8C200584D6}"/>
              </a:ext>
            </a:extLst>
          </p:cNvPr>
          <p:cNvSpPr>
            <a:spLocks noGrp="1"/>
          </p:cNvSpPr>
          <p:nvPr>
            <p:ph type="ctrTitle" hasCustomPrompt="1"/>
          </p:nvPr>
        </p:nvSpPr>
        <p:spPr>
          <a:xfrm>
            <a:off x="3498187" y="880590"/>
            <a:ext cx="5258861" cy="1057553"/>
          </a:xfrm>
          <a:prstGeom prst="rect">
            <a:avLst/>
          </a:prstGeom>
        </p:spPr>
        <p:txBody>
          <a:bodyPr bIns="0" anchor="t">
            <a:normAutofit/>
          </a:bodyPr>
          <a:lstStyle>
            <a:lvl1pPr algn="l">
              <a:defRPr sz="3150">
                <a:solidFill>
                  <a:schemeClr val="bg1"/>
                </a:solidFill>
              </a:defRPr>
            </a:lvl1pPr>
          </a:lstStyle>
          <a:p>
            <a:r>
              <a:rPr lang="en-US" dirty="0"/>
              <a:t>Click to add take home message (one line)</a:t>
            </a:r>
            <a:endParaRPr lang="en-GB" noProof="0" dirty="0"/>
          </a:p>
        </p:txBody>
      </p:sp>
      <p:sp>
        <p:nvSpPr>
          <p:cNvPr id="3" name="Ondertitel 2">
            <a:extLst>
              <a:ext uri="{FF2B5EF4-FFF2-40B4-BE49-F238E27FC236}">
                <a16:creationId xmlns:a16="http://schemas.microsoft.com/office/drawing/2014/main" id="{212D422B-081F-4C4B-8A3F-40615718DBCF}"/>
              </a:ext>
            </a:extLst>
          </p:cNvPr>
          <p:cNvSpPr>
            <a:spLocks noGrp="1"/>
          </p:cNvSpPr>
          <p:nvPr>
            <p:ph type="subTitle" idx="1" hasCustomPrompt="1"/>
          </p:nvPr>
        </p:nvSpPr>
        <p:spPr>
          <a:xfrm>
            <a:off x="3498187" y="1994320"/>
            <a:ext cx="5258861" cy="797320"/>
          </a:xfrm>
        </p:spPr>
        <p:txBody>
          <a:bodyPr lIns="90000">
            <a:normAutofit/>
          </a:bodyPr>
          <a:lstStyle>
            <a:lvl1pPr marL="0" indent="0" algn="l">
              <a:buNone/>
              <a:defRPr sz="16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add key information</a:t>
            </a:r>
            <a:br>
              <a:rPr lang="en-US" dirty="0"/>
            </a:br>
            <a:r>
              <a:rPr lang="en-US" dirty="0"/>
              <a:t>to be displayed as final slide during discussion </a:t>
            </a:r>
            <a:endParaRPr lang="nl-NL" dirty="0"/>
          </a:p>
        </p:txBody>
      </p:sp>
      <p:sp>
        <p:nvSpPr>
          <p:cNvPr id="16" name="Tijdelijke aanduiding voor afbeelding 15">
            <a:extLst>
              <a:ext uri="{FF2B5EF4-FFF2-40B4-BE49-F238E27FC236}">
                <a16:creationId xmlns:a16="http://schemas.microsoft.com/office/drawing/2014/main" id="{3193C12A-70D9-45BF-8613-5D1F7A788ADF}"/>
              </a:ext>
            </a:extLst>
          </p:cNvPr>
          <p:cNvSpPr>
            <a:spLocks noGrp="1"/>
          </p:cNvSpPr>
          <p:nvPr>
            <p:ph type="pic" sz="quarter" idx="14"/>
          </p:nvPr>
        </p:nvSpPr>
        <p:spPr>
          <a:xfrm>
            <a:off x="2508915" y="2119682"/>
            <a:ext cx="656035" cy="656035"/>
          </a:xfrm>
          <a:prstGeom prst="ellipse">
            <a:avLst/>
          </a:prstGeom>
          <a:blipFill dpi="0" rotWithShape="1">
            <a:blip r:embed="rId3">
              <a:extLst>
                <a:ext uri="{28A0092B-C50C-407E-A947-70E740481C1C}">
                  <a14:useLocalDpi xmlns:a14="http://schemas.microsoft.com/office/drawing/2010/main" val="0"/>
                </a:ext>
              </a:extLst>
            </a:blip>
            <a:srcRect/>
            <a:stretch>
              <a:fillRect l="-1034" t="-1034" r="-1034" b="-1034"/>
            </a:stretch>
          </a:blipFill>
        </p:spPr>
        <p:txBody>
          <a:bodyPr>
            <a:normAutofit/>
          </a:bodyPr>
          <a:lstStyle>
            <a:lvl1pPr>
              <a:defRPr sz="100">
                <a:solidFill>
                  <a:schemeClr val="accent4"/>
                </a:solidFill>
              </a:defRPr>
            </a:lvl1pPr>
          </a:lstStyle>
          <a:p>
            <a:r>
              <a:rPr lang="en-US"/>
              <a:t>Click icon to add picture</a:t>
            </a:r>
            <a:endParaRPr lang="nl-NL" dirty="0"/>
          </a:p>
        </p:txBody>
      </p:sp>
      <p:sp>
        <p:nvSpPr>
          <p:cNvPr id="17" name="Tijdelijke aanduiding voor tekst 7">
            <a:extLst>
              <a:ext uri="{FF2B5EF4-FFF2-40B4-BE49-F238E27FC236}">
                <a16:creationId xmlns:a16="http://schemas.microsoft.com/office/drawing/2014/main" id="{C42F8C46-8E51-4D21-9D5D-2B7BD969289A}"/>
              </a:ext>
            </a:extLst>
          </p:cNvPr>
          <p:cNvSpPr>
            <a:spLocks noGrp="1"/>
          </p:cNvSpPr>
          <p:nvPr>
            <p:ph type="body" sz="quarter" idx="15" hasCustomPrompt="1"/>
          </p:nvPr>
        </p:nvSpPr>
        <p:spPr>
          <a:xfrm>
            <a:off x="3506068" y="3117149"/>
            <a:ext cx="5258861" cy="273844"/>
          </a:xfrm>
        </p:spPr>
        <p:txBody>
          <a:bodyPr vert="horz" lIns="91440" tIns="45720" rIns="0" bIns="45720" rtlCol="0" anchor="ctr">
            <a:noAutofit/>
          </a:bodyPr>
          <a:lstStyle>
            <a:lvl1pPr>
              <a:lnSpc>
                <a:spcPct val="100000"/>
              </a:lnSpc>
              <a:defRPr lang="nl-NL" sz="1650" spc="-30" baseline="0" dirty="0">
                <a:solidFill>
                  <a:schemeClr val="bg1"/>
                </a:solidFill>
              </a:defRPr>
            </a:lvl1pPr>
          </a:lstStyle>
          <a:p>
            <a:pPr lvl="0"/>
            <a:r>
              <a:rPr lang="en-US" noProof="0" dirty="0"/>
              <a:t>Click to edit author/presenter</a:t>
            </a:r>
            <a:endParaRPr lang="en-GB" noProof="0" dirty="0"/>
          </a:p>
        </p:txBody>
      </p:sp>
      <p:sp>
        <p:nvSpPr>
          <p:cNvPr id="11" name="Tekstvak 10">
            <a:extLst>
              <a:ext uri="{FF2B5EF4-FFF2-40B4-BE49-F238E27FC236}">
                <a16:creationId xmlns:a16="http://schemas.microsoft.com/office/drawing/2014/main" id="{842E7C8E-4FEA-4866-8D67-3D0CA3CC4ECF}"/>
              </a:ext>
            </a:extLst>
          </p:cNvPr>
          <p:cNvSpPr txBox="1"/>
          <p:nvPr userDrawn="1"/>
        </p:nvSpPr>
        <p:spPr>
          <a:xfrm>
            <a:off x="-2950296" y="1568768"/>
            <a:ext cx="2196435" cy="577081"/>
          </a:xfrm>
          <a:prstGeom prst="rect">
            <a:avLst/>
          </a:prstGeom>
          <a:noFill/>
        </p:spPr>
        <p:txBody>
          <a:bodyPr wrap="none" rtlCol="0">
            <a:spAutoFit/>
          </a:bodyPr>
          <a:lstStyle/>
          <a:p>
            <a:pPr algn="r"/>
            <a:r>
              <a:rPr lang="en-US" sz="1050" noProof="0" dirty="0">
                <a:solidFill>
                  <a:schemeClr val="bg2"/>
                </a:solidFill>
              </a:rPr>
              <a:t>After replacing a new image:</a:t>
            </a:r>
            <a:br>
              <a:rPr lang="en-US" sz="1050" noProof="0" dirty="0">
                <a:solidFill>
                  <a:schemeClr val="bg2"/>
                </a:solidFill>
              </a:rPr>
            </a:br>
            <a:r>
              <a:rPr lang="en-US" sz="1050" noProof="0" dirty="0">
                <a:solidFill>
                  <a:schemeClr val="bg2"/>
                </a:solidFill>
              </a:rPr>
              <a:t>make sure to arrange the image</a:t>
            </a:r>
            <a:br>
              <a:rPr lang="en-US" sz="1050" noProof="0" dirty="0">
                <a:solidFill>
                  <a:schemeClr val="bg2"/>
                </a:solidFill>
              </a:rPr>
            </a:br>
            <a:r>
              <a:rPr lang="en-US" sz="1050" noProof="0" dirty="0">
                <a:solidFill>
                  <a:schemeClr val="bg2"/>
                </a:solidFill>
              </a:rPr>
              <a:t>to the background</a:t>
            </a:r>
          </a:p>
        </p:txBody>
      </p:sp>
      <p:sp>
        <p:nvSpPr>
          <p:cNvPr id="12" name="Gelijkbenige driehoek 11">
            <a:extLst>
              <a:ext uri="{FF2B5EF4-FFF2-40B4-BE49-F238E27FC236}">
                <a16:creationId xmlns:a16="http://schemas.microsoft.com/office/drawing/2014/main" id="{C9D9E286-C0FC-4596-85E8-38564247CDC5}"/>
              </a:ext>
            </a:extLst>
          </p:cNvPr>
          <p:cNvSpPr/>
          <p:nvPr userDrawn="1"/>
        </p:nvSpPr>
        <p:spPr>
          <a:xfrm rot="5400000" flipH="1">
            <a:off x="-753868" y="1644294"/>
            <a:ext cx="162878" cy="14041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3" name="Tekstvak 12">
            <a:extLst>
              <a:ext uri="{FF2B5EF4-FFF2-40B4-BE49-F238E27FC236}">
                <a16:creationId xmlns:a16="http://schemas.microsoft.com/office/drawing/2014/main" id="{260C74DA-30F0-4253-B617-8A070B7777C2}"/>
              </a:ext>
            </a:extLst>
          </p:cNvPr>
          <p:cNvSpPr txBox="1"/>
          <p:nvPr userDrawn="1"/>
        </p:nvSpPr>
        <p:spPr>
          <a:xfrm>
            <a:off x="-2434129" y="2451735"/>
            <a:ext cx="1680268" cy="415498"/>
          </a:xfrm>
          <a:prstGeom prst="rect">
            <a:avLst/>
          </a:prstGeom>
          <a:noFill/>
        </p:spPr>
        <p:txBody>
          <a:bodyPr wrap="none" rtlCol="0">
            <a:spAutoFit/>
          </a:bodyPr>
          <a:lstStyle/>
          <a:p>
            <a:pPr algn="r"/>
            <a:r>
              <a:rPr lang="en-GB" sz="1050" noProof="0" dirty="0">
                <a:solidFill>
                  <a:schemeClr val="bg2"/>
                </a:solidFill>
              </a:rPr>
              <a:t>Don’t add an image,</a:t>
            </a:r>
            <a:br>
              <a:rPr lang="en-GB" sz="1050" noProof="0" dirty="0">
                <a:solidFill>
                  <a:schemeClr val="bg2"/>
                </a:solidFill>
              </a:rPr>
            </a:br>
            <a:r>
              <a:rPr lang="en-GB" sz="1050" noProof="0" dirty="0">
                <a:solidFill>
                  <a:schemeClr val="bg2"/>
                </a:solidFill>
              </a:rPr>
              <a:t>in the circle placeholder</a:t>
            </a:r>
          </a:p>
        </p:txBody>
      </p:sp>
      <p:sp>
        <p:nvSpPr>
          <p:cNvPr id="14" name="Gelijkbenige driehoek 13">
            <a:extLst>
              <a:ext uri="{FF2B5EF4-FFF2-40B4-BE49-F238E27FC236}">
                <a16:creationId xmlns:a16="http://schemas.microsoft.com/office/drawing/2014/main" id="{2B710E17-039F-48FA-84AA-5509F0041060}"/>
              </a:ext>
            </a:extLst>
          </p:cNvPr>
          <p:cNvSpPr/>
          <p:nvPr userDrawn="1"/>
        </p:nvSpPr>
        <p:spPr>
          <a:xfrm rot="5400000" flipH="1">
            <a:off x="-753868" y="2527262"/>
            <a:ext cx="162878" cy="140412"/>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22" name="Afbeelding 21">
            <a:extLst>
              <a:ext uri="{FF2B5EF4-FFF2-40B4-BE49-F238E27FC236}">
                <a16:creationId xmlns:a16="http://schemas.microsoft.com/office/drawing/2014/main" id="{1099820C-86C2-49E4-8747-4C2BF8D10E0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519119" y="4359773"/>
            <a:ext cx="2143443" cy="534600"/>
          </a:xfrm>
          <a:prstGeom prst="rect">
            <a:avLst/>
          </a:prstGeom>
        </p:spPr>
      </p:pic>
    </p:spTree>
    <p:extLst>
      <p:ext uri="{BB962C8B-B14F-4D97-AF65-F5344CB8AC3E}">
        <p14:creationId xmlns:p14="http://schemas.microsoft.com/office/powerpoint/2010/main" val="3288935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ject team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270000" y="57610"/>
            <a:ext cx="8217966" cy="847800"/>
          </a:xfrm>
          <a:prstGeom prst="rect">
            <a:avLst/>
          </a:prstGeom>
        </p:spPr>
        <p:txBody>
          <a:bodyPr/>
          <a:lstStyle>
            <a:lvl1pPr>
              <a:defRPr>
                <a:solidFill>
                  <a:schemeClr val="tx2"/>
                </a:solidFill>
              </a:defRPr>
            </a:lvl1pPr>
          </a:lstStyle>
          <a:p>
            <a:r>
              <a:rPr lang="en-GB" noProof="0" dirty="0"/>
              <a:t>Click to edit title style</a:t>
            </a:r>
          </a:p>
        </p:txBody>
      </p:sp>
      <p:sp>
        <p:nvSpPr>
          <p:cNvPr id="10" name="Tijdelijke aanduiding voor afbeelding 9">
            <a:extLst>
              <a:ext uri="{FF2B5EF4-FFF2-40B4-BE49-F238E27FC236}">
                <a16:creationId xmlns:a16="http://schemas.microsoft.com/office/drawing/2014/main" id="{1BF3AD0B-E69A-4458-9F2F-AD15935C1A1E}"/>
              </a:ext>
            </a:extLst>
          </p:cNvPr>
          <p:cNvSpPr>
            <a:spLocks noGrp="1" noChangeAspect="1"/>
          </p:cNvSpPr>
          <p:nvPr>
            <p:ph type="pic" sz="quarter" idx="14" hasCustomPrompt="1"/>
          </p:nvPr>
        </p:nvSpPr>
        <p:spPr>
          <a:xfrm>
            <a:off x="796528" y="1327071"/>
            <a:ext cx="1779437" cy="596559"/>
          </a:xfrm>
          <a:noFill/>
        </p:spPr>
        <p:txBody>
          <a:bodyPr wrap="none">
            <a:noAutofit/>
          </a:bodyPr>
          <a:lstStyle>
            <a:lvl1pPr algn="ctr">
              <a:defRPr sz="900"/>
            </a:lvl1pPr>
          </a:lstStyle>
          <a:p>
            <a:r>
              <a:rPr lang="nl-NL" dirty="0"/>
              <a:t>Click </a:t>
            </a:r>
            <a:r>
              <a:rPr lang="nl-NL" dirty="0" err="1"/>
              <a:t>to</a:t>
            </a:r>
            <a:r>
              <a:rPr lang="nl-NL" dirty="0"/>
              <a:t> </a:t>
            </a:r>
            <a:r>
              <a:rPr lang="nl-NL" dirty="0" err="1"/>
              <a:t>add</a:t>
            </a:r>
            <a:r>
              <a:rPr lang="nl-NL" dirty="0"/>
              <a:t> logo</a:t>
            </a:r>
          </a:p>
        </p:txBody>
      </p:sp>
      <p:sp>
        <p:nvSpPr>
          <p:cNvPr id="11" name="Tijdelijke aanduiding voor tekst 9">
            <a:extLst>
              <a:ext uri="{FF2B5EF4-FFF2-40B4-BE49-F238E27FC236}">
                <a16:creationId xmlns:a16="http://schemas.microsoft.com/office/drawing/2014/main" id="{C8E78EFF-E989-4EC0-9E44-4B28DF5A2865}"/>
              </a:ext>
            </a:extLst>
          </p:cNvPr>
          <p:cNvSpPr>
            <a:spLocks noGrp="1"/>
          </p:cNvSpPr>
          <p:nvPr>
            <p:ph type="body" sz="quarter" idx="15" hasCustomPrompt="1"/>
          </p:nvPr>
        </p:nvSpPr>
        <p:spPr>
          <a:xfrm>
            <a:off x="873370" y="1974806"/>
            <a:ext cx="1836000" cy="153591"/>
          </a:xfrm>
        </p:spPr>
        <p:txBody>
          <a:bodyPr>
            <a:noAutofit/>
          </a:bodyPr>
          <a:lstStyle>
            <a:lvl1pPr>
              <a:defRPr sz="1200" b="1"/>
            </a:lvl1pPr>
          </a:lstStyle>
          <a:p>
            <a:pPr lvl="0"/>
            <a:r>
              <a:rPr lang="en-GB" noProof="0" dirty="0"/>
              <a:t>Name</a:t>
            </a:r>
          </a:p>
        </p:txBody>
      </p:sp>
      <p:sp>
        <p:nvSpPr>
          <p:cNvPr id="12" name="Tijdelijke aanduiding voor tekst 9">
            <a:extLst>
              <a:ext uri="{FF2B5EF4-FFF2-40B4-BE49-F238E27FC236}">
                <a16:creationId xmlns:a16="http://schemas.microsoft.com/office/drawing/2014/main" id="{A8D39DDD-3D97-4A34-B6D6-9417C2BD991C}"/>
              </a:ext>
            </a:extLst>
          </p:cNvPr>
          <p:cNvSpPr>
            <a:spLocks noGrp="1"/>
          </p:cNvSpPr>
          <p:nvPr>
            <p:ph type="body" sz="quarter" idx="16" hasCustomPrompt="1"/>
          </p:nvPr>
        </p:nvSpPr>
        <p:spPr>
          <a:xfrm>
            <a:off x="887410" y="2179572"/>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13" name="Tijdelijke aanduiding voor afbeelding 9">
            <a:extLst>
              <a:ext uri="{FF2B5EF4-FFF2-40B4-BE49-F238E27FC236}">
                <a16:creationId xmlns:a16="http://schemas.microsoft.com/office/drawing/2014/main" id="{D2A320F7-B8BA-45ED-B010-00A28E14E0AB}"/>
              </a:ext>
            </a:extLst>
          </p:cNvPr>
          <p:cNvSpPr>
            <a:spLocks noGrp="1" noChangeAspect="1"/>
          </p:cNvSpPr>
          <p:nvPr>
            <p:ph type="pic" sz="quarter" idx="17" hasCustomPrompt="1"/>
          </p:nvPr>
        </p:nvSpPr>
        <p:spPr>
          <a:xfrm>
            <a:off x="2723410" y="1327071"/>
            <a:ext cx="1779437" cy="596559"/>
          </a:xfrm>
          <a:noFill/>
        </p:spPr>
        <p:txBody>
          <a:bodyPr wrap="none">
            <a:normAutofit/>
          </a:bodyPr>
          <a:lstStyle>
            <a:lvl1pPr algn="ctr">
              <a:defRPr sz="900"/>
            </a:lvl1pPr>
          </a:lstStyle>
          <a:p>
            <a:r>
              <a:rPr lang="nl-NL" dirty="0"/>
              <a:t>Click </a:t>
            </a:r>
            <a:r>
              <a:rPr lang="nl-NL" dirty="0" err="1"/>
              <a:t>to</a:t>
            </a:r>
            <a:r>
              <a:rPr lang="nl-NL" dirty="0"/>
              <a:t> </a:t>
            </a:r>
            <a:r>
              <a:rPr lang="nl-NL" dirty="0" err="1"/>
              <a:t>add</a:t>
            </a:r>
            <a:r>
              <a:rPr lang="nl-NL" dirty="0"/>
              <a:t> logo</a:t>
            </a:r>
          </a:p>
        </p:txBody>
      </p:sp>
      <p:sp>
        <p:nvSpPr>
          <p:cNvPr id="14" name="Tijdelijke aanduiding voor tekst 9">
            <a:extLst>
              <a:ext uri="{FF2B5EF4-FFF2-40B4-BE49-F238E27FC236}">
                <a16:creationId xmlns:a16="http://schemas.microsoft.com/office/drawing/2014/main" id="{960BBEB0-6377-4589-A0D6-1BB179B8E00B}"/>
              </a:ext>
            </a:extLst>
          </p:cNvPr>
          <p:cNvSpPr>
            <a:spLocks noGrp="1"/>
          </p:cNvSpPr>
          <p:nvPr>
            <p:ph type="body" sz="quarter" idx="18" hasCustomPrompt="1"/>
          </p:nvPr>
        </p:nvSpPr>
        <p:spPr>
          <a:xfrm>
            <a:off x="2800253" y="1974806"/>
            <a:ext cx="1836000" cy="153591"/>
          </a:xfrm>
        </p:spPr>
        <p:txBody>
          <a:bodyPr>
            <a:noAutofit/>
          </a:bodyPr>
          <a:lstStyle>
            <a:lvl1pPr>
              <a:defRPr sz="1200" b="1"/>
            </a:lvl1pPr>
          </a:lstStyle>
          <a:p>
            <a:pPr lvl="0"/>
            <a:r>
              <a:rPr lang="en-GB" noProof="0"/>
              <a:t>Name</a:t>
            </a:r>
          </a:p>
        </p:txBody>
      </p:sp>
      <p:sp>
        <p:nvSpPr>
          <p:cNvPr id="15" name="Tijdelijke aanduiding voor tekst 9">
            <a:extLst>
              <a:ext uri="{FF2B5EF4-FFF2-40B4-BE49-F238E27FC236}">
                <a16:creationId xmlns:a16="http://schemas.microsoft.com/office/drawing/2014/main" id="{07F64D3D-FEE5-4062-B7F0-B078A5217D41}"/>
              </a:ext>
            </a:extLst>
          </p:cNvPr>
          <p:cNvSpPr>
            <a:spLocks noGrp="1"/>
          </p:cNvSpPr>
          <p:nvPr>
            <p:ph type="body" sz="quarter" idx="19" hasCustomPrompt="1"/>
          </p:nvPr>
        </p:nvSpPr>
        <p:spPr>
          <a:xfrm>
            <a:off x="2814292" y="2179572"/>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16" name="Tijdelijke aanduiding voor afbeelding 9">
            <a:extLst>
              <a:ext uri="{FF2B5EF4-FFF2-40B4-BE49-F238E27FC236}">
                <a16:creationId xmlns:a16="http://schemas.microsoft.com/office/drawing/2014/main" id="{777967D8-B4C1-4300-A05E-758CBF91175D}"/>
              </a:ext>
            </a:extLst>
          </p:cNvPr>
          <p:cNvSpPr>
            <a:spLocks noGrp="1" noChangeAspect="1"/>
          </p:cNvSpPr>
          <p:nvPr>
            <p:ph type="pic" sz="quarter" idx="20" hasCustomPrompt="1"/>
          </p:nvPr>
        </p:nvSpPr>
        <p:spPr>
          <a:xfrm>
            <a:off x="4650292" y="1327071"/>
            <a:ext cx="1779437" cy="596559"/>
          </a:xfrm>
          <a:noFill/>
        </p:spPr>
        <p:txBody>
          <a:bodyPr wrap="none">
            <a:normAutofit/>
          </a:bodyPr>
          <a:lstStyle>
            <a:lvl1pPr algn="ctr">
              <a:defRPr sz="900"/>
            </a:lvl1pPr>
          </a:lstStyle>
          <a:p>
            <a:r>
              <a:rPr lang="nl-NL" dirty="0"/>
              <a:t>Click </a:t>
            </a:r>
            <a:r>
              <a:rPr lang="nl-NL" dirty="0" err="1"/>
              <a:t>to</a:t>
            </a:r>
            <a:r>
              <a:rPr lang="nl-NL" dirty="0"/>
              <a:t> </a:t>
            </a:r>
            <a:r>
              <a:rPr lang="nl-NL" dirty="0" err="1"/>
              <a:t>add</a:t>
            </a:r>
            <a:r>
              <a:rPr lang="nl-NL" dirty="0"/>
              <a:t> logo</a:t>
            </a:r>
          </a:p>
        </p:txBody>
      </p:sp>
      <p:sp>
        <p:nvSpPr>
          <p:cNvPr id="17" name="Tijdelijke aanduiding voor tekst 9">
            <a:extLst>
              <a:ext uri="{FF2B5EF4-FFF2-40B4-BE49-F238E27FC236}">
                <a16:creationId xmlns:a16="http://schemas.microsoft.com/office/drawing/2014/main" id="{FC9E14B9-F9C9-4B55-AB71-FE509614A5F0}"/>
              </a:ext>
            </a:extLst>
          </p:cNvPr>
          <p:cNvSpPr>
            <a:spLocks noGrp="1"/>
          </p:cNvSpPr>
          <p:nvPr>
            <p:ph type="body" sz="quarter" idx="21" hasCustomPrompt="1"/>
          </p:nvPr>
        </p:nvSpPr>
        <p:spPr>
          <a:xfrm>
            <a:off x="4727135" y="1974806"/>
            <a:ext cx="1836000" cy="153591"/>
          </a:xfrm>
        </p:spPr>
        <p:txBody>
          <a:bodyPr>
            <a:noAutofit/>
          </a:bodyPr>
          <a:lstStyle>
            <a:lvl1pPr>
              <a:defRPr sz="1200" b="1"/>
            </a:lvl1pPr>
          </a:lstStyle>
          <a:p>
            <a:pPr lvl="0"/>
            <a:r>
              <a:rPr lang="en-GB" noProof="0"/>
              <a:t>Name</a:t>
            </a:r>
          </a:p>
        </p:txBody>
      </p:sp>
      <p:sp>
        <p:nvSpPr>
          <p:cNvPr id="18" name="Tijdelijke aanduiding voor tekst 9">
            <a:extLst>
              <a:ext uri="{FF2B5EF4-FFF2-40B4-BE49-F238E27FC236}">
                <a16:creationId xmlns:a16="http://schemas.microsoft.com/office/drawing/2014/main" id="{7F010A67-086B-4E83-8AC9-20AB0EF7EC65}"/>
              </a:ext>
            </a:extLst>
          </p:cNvPr>
          <p:cNvSpPr>
            <a:spLocks noGrp="1"/>
          </p:cNvSpPr>
          <p:nvPr>
            <p:ph type="body" sz="quarter" idx="22" hasCustomPrompt="1"/>
          </p:nvPr>
        </p:nvSpPr>
        <p:spPr>
          <a:xfrm>
            <a:off x="4741174" y="2179572"/>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19" name="Tijdelijke aanduiding voor afbeelding 9">
            <a:extLst>
              <a:ext uri="{FF2B5EF4-FFF2-40B4-BE49-F238E27FC236}">
                <a16:creationId xmlns:a16="http://schemas.microsoft.com/office/drawing/2014/main" id="{F5214B3F-6926-41BB-A7DE-36C5F643E1B7}"/>
              </a:ext>
            </a:extLst>
          </p:cNvPr>
          <p:cNvSpPr>
            <a:spLocks noGrp="1" noChangeAspect="1"/>
          </p:cNvSpPr>
          <p:nvPr>
            <p:ph type="pic" sz="quarter" idx="23" hasCustomPrompt="1"/>
          </p:nvPr>
        </p:nvSpPr>
        <p:spPr>
          <a:xfrm>
            <a:off x="6577174" y="1327071"/>
            <a:ext cx="1779437" cy="596559"/>
          </a:xfrm>
          <a:noFill/>
        </p:spPr>
        <p:txBody>
          <a:bodyPr wrap="none">
            <a:normAutofit/>
          </a:bodyPr>
          <a:lstStyle>
            <a:lvl1pPr algn="ctr">
              <a:defRPr sz="900"/>
            </a:lvl1pPr>
          </a:lstStyle>
          <a:p>
            <a:r>
              <a:rPr lang="nl-NL" dirty="0"/>
              <a:t>Click </a:t>
            </a:r>
            <a:r>
              <a:rPr lang="nl-NL" dirty="0" err="1"/>
              <a:t>to</a:t>
            </a:r>
            <a:r>
              <a:rPr lang="nl-NL" dirty="0"/>
              <a:t> </a:t>
            </a:r>
            <a:r>
              <a:rPr lang="nl-NL" dirty="0" err="1"/>
              <a:t>add</a:t>
            </a:r>
            <a:r>
              <a:rPr lang="nl-NL" dirty="0"/>
              <a:t> logo</a:t>
            </a:r>
          </a:p>
        </p:txBody>
      </p:sp>
      <p:sp>
        <p:nvSpPr>
          <p:cNvPr id="20" name="Tijdelijke aanduiding voor tekst 9">
            <a:extLst>
              <a:ext uri="{FF2B5EF4-FFF2-40B4-BE49-F238E27FC236}">
                <a16:creationId xmlns:a16="http://schemas.microsoft.com/office/drawing/2014/main" id="{CEFBA8D7-C002-45DC-89EC-1AF125D468A1}"/>
              </a:ext>
            </a:extLst>
          </p:cNvPr>
          <p:cNvSpPr>
            <a:spLocks noGrp="1"/>
          </p:cNvSpPr>
          <p:nvPr>
            <p:ph type="body" sz="quarter" idx="24" hasCustomPrompt="1"/>
          </p:nvPr>
        </p:nvSpPr>
        <p:spPr>
          <a:xfrm>
            <a:off x="6654016" y="1974806"/>
            <a:ext cx="1836000" cy="153591"/>
          </a:xfrm>
        </p:spPr>
        <p:txBody>
          <a:bodyPr>
            <a:noAutofit/>
          </a:bodyPr>
          <a:lstStyle>
            <a:lvl1pPr>
              <a:defRPr sz="1200" b="1"/>
            </a:lvl1pPr>
          </a:lstStyle>
          <a:p>
            <a:pPr lvl="0"/>
            <a:r>
              <a:rPr lang="en-GB" noProof="0"/>
              <a:t>Name</a:t>
            </a:r>
          </a:p>
        </p:txBody>
      </p:sp>
      <p:sp>
        <p:nvSpPr>
          <p:cNvPr id="21" name="Tijdelijke aanduiding voor tekst 9">
            <a:extLst>
              <a:ext uri="{FF2B5EF4-FFF2-40B4-BE49-F238E27FC236}">
                <a16:creationId xmlns:a16="http://schemas.microsoft.com/office/drawing/2014/main" id="{EDADE4CC-7044-4908-BAE8-9E0AD087E558}"/>
              </a:ext>
            </a:extLst>
          </p:cNvPr>
          <p:cNvSpPr>
            <a:spLocks noGrp="1"/>
          </p:cNvSpPr>
          <p:nvPr>
            <p:ph type="body" sz="quarter" idx="25" hasCustomPrompt="1"/>
          </p:nvPr>
        </p:nvSpPr>
        <p:spPr>
          <a:xfrm>
            <a:off x="6668055" y="2179572"/>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22" name="Tekstvak 21">
            <a:extLst>
              <a:ext uri="{FF2B5EF4-FFF2-40B4-BE49-F238E27FC236}">
                <a16:creationId xmlns:a16="http://schemas.microsoft.com/office/drawing/2014/main" id="{08BA0F05-82F7-4C2D-9600-F9321E098595}"/>
              </a:ext>
            </a:extLst>
          </p:cNvPr>
          <p:cNvSpPr txBox="1"/>
          <p:nvPr userDrawn="1"/>
        </p:nvSpPr>
        <p:spPr>
          <a:xfrm>
            <a:off x="9390253" y="1568767"/>
            <a:ext cx="1494320" cy="900246"/>
          </a:xfrm>
          <a:prstGeom prst="rect">
            <a:avLst/>
          </a:prstGeom>
          <a:noFill/>
        </p:spPr>
        <p:txBody>
          <a:bodyPr wrap="none" rtlCol="0">
            <a:spAutoFit/>
          </a:bodyPr>
          <a:lstStyle/>
          <a:p>
            <a:r>
              <a:rPr lang="en-US" sz="1050" dirty="0">
                <a:solidFill>
                  <a:schemeClr val="bg2"/>
                </a:solidFill>
              </a:rPr>
              <a:t>Logos must be</a:t>
            </a:r>
            <a:br>
              <a:rPr lang="en-US" sz="1050" dirty="0">
                <a:solidFill>
                  <a:schemeClr val="bg2"/>
                </a:solidFill>
              </a:rPr>
            </a:br>
            <a:r>
              <a:rPr lang="en-US" sz="1050" dirty="0">
                <a:solidFill>
                  <a:schemeClr val="bg2"/>
                </a:solidFill>
              </a:rPr>
              <a:t>374 x 126 pixels</a:t>
            </a:r>
            <a:br>
              <a:rPr lang="en-US" sz="1050" dirty="0">
                <a:solidFill>
                  <a:schemeClr val="bg2"/>
                </a:solidFill>
              </a:rPr>
            </a:br>
            <a:r>
              <a:rPr lang="en-US" sz="1050" dirty="0">
                <a:solidFill>
                  <a:schemeClr val="bg2"/>
                </a:solidFill>
              </a:rPr>
              <a:t>(or related format).</a:t>
            </a:r>
            <a:br>
              <a:rPr lang="en-US" sz="1050" dirty="0">
                <a:solidFill>
                  <a:schemeClr val="bg2"/>
                </a:solidFill>
              </a:rPr>
            </a:br>
            <a:r>
              <a:rPr lang="en-US" sz="1050" dirty="0">
                <a:solidFill>
                  <a:schemeClr val="bg2"/>
                </a:solidFill>
              </a:rPr>
              <a:t>Placeholder is center</a:t>
            </a:r>
            <a:br>
              <a:rPr lang="en-US" sz="1050" dirty="0">
                <a:solidFill>
                  <a:schemeClr val="bg2"/>
                </a:solidFill>
              </a:rPr>
            </a:br>
            <a:r>
              <a:rPr lang="en-US" sz="1050" dirty="0">
                <a:solidFill>
                  <a:schemeClr val="bg2"/>
                </a:solidFill>
              </a:rPr>
              <a:t>orientated.</a:t>
            </a:r>
          </a:p>
        </p:txBody>
      </p:sp>
      <p:sp>
        <p:nvSpPr>
          <p:cNvPr id="23" name="Gelijkbenige driehoek 22">
            <a:extLst>
              <a:ext uri="{FF2B5EF4-FFF2-40B4-BE49-F238E27FC236}">
                <a16:creationId xmlns:a16="http://schemas.microsoft.com/office/drawing/2014/main" id="{A08F0DDA-5D3F-4819-94AF-8330BEBEF856}"/>
              </a:ext>
            </a:extLst>
          </p:cNvPr>
          <p:cNvSpPr/>
          <p:nvPr userDrawn="1"/>
        </p:nvSpPr>
        <p:spPr>
          <a:xfrm rot="16200000">
            <a:off x="9229528" y="1644294"/>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29" name="Tijdelijke aanduiding voor tekst 9">
            <a:extLst>
              <a:ext uri="{FF2B5EF4-FFF2-40B4-BE49-F238E27FC236}">
                <a16:creationId xmlns:a16="http://schemas.microsoft.com/office/drawing/2014/main" id="{637EF967-CFA0-4E11-A0CC-B7FAF3537339}"/>
              </a:ext>
            </a:extLst>
          </p:cNvPr>
          <p:cNvSpPr>
            <a:spLocks noGrp="1"/>
          </p:cNvSpPr>
          <p:nvPr>
            <p:ph type="body" sz="quarter" idx="26" hasCustomPrompt="1"/>
          </p:nvPr>
        </p:nvSpPr>
        <p:spPr>
          <a:xfrm>
            <a:off x="873370" y="2431181"/>
            <a:ext cx="1836000" cy="153591"/>
          </a:xfrm>
        </p:spPr>
        <p:txBody>
          <a:bodyPr>
            <a:noAutofit/>
          </a:bodyPr>
          <a:lstStyle>
            <a:lvl1pPr>
              <a:defRPr sz="1200" b="1"/>
            </a:lvl1pPr>
          </a:lstStyle>
          <a:p>
            <a:pPr lvl="0"/>
            <a:r>
              <a:rPr lang="en-GB" noProof="0" dirty="0"/>
              <a:t>Name</a:t>
            </a:r>
          </a:p>
        </p:txBody>
      </p:sp>
      <p:sp>
        <p:nvSpPr>
          <p:cNvPr id="30" name="Tijdelijke aanduiding voor tekst 9">
            <a:extLst>
              <a:ext uri="{FF2B5EF4-FFF2-40B4-BE49-F238E27FC236}">
                <a16:creationId xmlns:a16="http://schemas.microsoft.com/office/drawing/2014/main" id="{BA7CEBE3-BB56-47FF-9C55-2F74E5B2F5CA}"/>
              </a:ext>
            </a:extLst>
          </p:cNvPr>
          <p:cNvSpPr>
            <a:spLocks noGrp="1"/>
          </p:cNvSpPr>
          <p:nvPr>
            <p:ph type="body" sz="quarter" idx="27" hasCustomPrompt="1"/>
          </p:nvPr>
        </p:nvSpPr>
        <p:spPr>
          <a:xfrm>
            <a:off x="887410" y="2635948"/>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37" name="Tijdelijke aanduiding voor tekst 9">
            <a:extLst>
              <a:ext uri="{FF2B5EF4-FFF2-40B4-BE49-F238E27FC236}">
                <a16:creationId xmlns:a16="http://schemas.microsoft.com/office/drawing/2014/main" id="{3C8E40A6-A30D-451C-99AE-D083B7D6A3B4}"/>
              </a:ext>
            </a:extLst>
          </p:cNvPr>
          <p:cNvSpPr>
            <a:spLocks noGrp="1"/>
          </p:cNvSpPr>
          <p:nvPr>
            <p:ph type="body" sz="quarter" idx="34" hasCustomPrompt="1"/>
          </p:nvPr>
        </p:nvSpPr>
        <p:spPr>
          <a:xfrm>
            <a:off x="873370" y="2883127"/>
            <a:ext cx="1836000" cy="153591"/>
          </a:xfrm>
        </p:spPr>
        <p:txBody>
          <a:bodyPr>
            <a:noAutofit/>
          </a:bodyPr>
          <a:lstStyle>
            <a:lvl1pPr>
              <a:defRPr sz="1200" b="1"/>
            </a:lvl1pPr>
          </a:lstStyle>
          <a:p>
            <a:pPr lvl="0"/>
            <a:r>
              <a:rPr lang="en-GB" noProof="0" dirty="0"/>
              <a:t>Name</a:t>
            </a:r>
          </a:p>
        </p:txBody>
      </p:sp>
      <p:sp>
        <p:nvSpPr>
          <p:cNvPr id="38" name="Tijdelijke aanduiding voor tekst 9">
            <a:extLst>
              <a:ext uri="{FF2B5EF4-FFF2-40B4-BE49-F238E27FC236}">
                <a16:creationId xmlns:a16="http://schemas.microsoft.com/office/drawing/2014/main" id="{640C99D7-A8E7-40DA-B959-F9BDC2450031}"/>
              </a:ext>
            </a:extLst>
          </p:cNvPr>
          <p:cNvSpPr>
            <a:spLocks noGrp="1"/>
          </p:cNvSpPr>
          <p:nvPr>
            <p:ph type="body" sz="quarter" idx="35" hasCustomPrompt="1"/>
          </p:nvPr>
        </p:nvSpPr>
        <p:spPr>
          <a:xfrm>
            <a:off x="887410" y="30878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45" name="Tijdelijke aanduiding voor tekst 9">
            <a:extLst>
              <a:ext uri="{FF2B5EF4-FFF2-40B4-BE49-F238E27FC236}">
                <a16:creationId xmlns:a16="http://schemas.microsoft.com/office/drawing/2014/main" id="{E7B067DC-073D-406B-8C80-FA5C851C995D}"/>
              </a:ext>
            </a:extLst>
          </p:cNvPr>
          <p:cNvSpPr>
            <a:spLocks noGrp="1"/>
          </p:cNvSpPr>
          <p:nvPr>
            <p:ph type="body" sz="quarter" idx="42" hasCustomPrompt="1"/>
          </p:nvPr>
        </p:nvSpPr>
        <p:spPr>
          <a:xfrm>
            <a:off x="873370" y="3335726"/>
            <a:ext cx="1836000" cy="153591"/>
          </a:xfrm>
        </p:spPr>
        <p:txBody>
          <a:bodyPr>
            <a:noAutofit/>
          </a:bodyPr>
          <a:lstStyle>
            <a:lvl1pPr>
              <a:defRPr sz="1200" b="1"/>
            </a:lvl1pPr>
          </a:lstStyle>
          <a:p>
            <a:pPr lvl="0"/>
            <a:r>
              <a:rPr lang="en-GB" noProof="0" dirty="0"/>
              <a:t>Name</a:t>
            </a:r>
          </a:p>
        </p:txBody>
      </p:sp>
      <p:sp>
        <p:nvSpPr>
          <p:cNvPr id="46" name="Tijdelijke aanduiding voor tekst 9">
            <a:extLst>
              <a:ext uri="{FF2B5EF4-FFF2-40B4-BE49-F238E27FC236}">
                <a16:creationId xmlns:a16="http://schemas.microsoft.com/office/drawing/2014/main" id="{EAF66210-C7FF-4DFB-B27F-105DE2D041B6}"/>
              </a:ext>
            </a:extLst>
          </p:cNvPr>
          <p:cNvSpPr>
            <a:spLocks noGrp="1"/>
          </p:cNvSpPr>
          <p:nvPr>
            <p:ph type="body" sz="quarter" idx="43" hasCustomPrompt="1"/>
          </p:nvPr>
        </p:nvSpPr>
        <p:spPr>
          <a:xfrm>
            <a:off x="873370" y="35404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53" name="Tijdelijke aanduiding voor tekst 9">
            <a:extLst>
              <a:ext uri="{FF2B5EF4-FFF2-40B4-BE49-F238E27FC236}">
                <a16:creationId xmlns:a16="http://schemas.microsoft.com/office/drawing/2014/main" id="{10733809-7E39-4633-B244-47E2750FE55A}"/>
              </a:ext>
            </a:extLst>
          </p:cNvPr>
          <p:cNvSpPr>
            <a:spLocks noGrp="1"/>
          </p:cNvSpPr>
          <p:nvPr>
            <p:ph type="body" sz="quarter" idx="50" hasCustomPrompt="1"/>
          </p:nvPr>
        </p:nvSpPr>
        <p:spPr>
          <a:xfrm>
            <a:off x="873370" y="3787481"/>
            <a:ext cx="1836000" cy="153591"/>
          </a:xfrm>
        </p:spPr>
        <p:txBody>
          <a:bodyPr>
            <a:noAutofit/>
          </a:bodyPr>
          <a:lstStyle>
            <a:lvl1pPr>
              <a:defRPr sz="1200" b="1"/>
            </a:lvl1pPr>
          </a:lstStyle>
          <a:p>
            <a:pPr lvl="0"/>
            <a:r>
              <a:rPr lang="en-GB" noProof="0" dirty="0"/>
              <a:t>Name</a:t>
            </a:r>
          </a:p>
        </p:txBody>
      </p:sp>
      <p:sp>
        <p:nvSpPr>
          <p:cNvPr id="54" name="Tijdelijke aanduiding voor tekst 9">
            <a:extLst>
              <a:ext uri="{FF2B5EF4-FFF2-40B4-BE49-F238E27FC236}">
                <a16:creationId xmlns:a16="http://schemas.microsoft.com/office/drawing/2014/main" id="{01647D52-3CFE-447C-8B09-938C7450B4CA}"/>
              </a:ext>
            </a:extLst>
          </p:cNvPr>
          <p:cNvSpPr>
            <a:spLocks noGrp="1"/>
          </p:cNvSpPr>
          <p:nvPr>
            <p:ph type="body" sz="quarter" idx="51" hasCustomPrompt="1"/>
          </p:nvPr>
        </p:nvSpPr>
        <p:spPr>
          <a:xfrm>
            <a:off x="873370" y="3992247"/>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61" name="Tijdelijke aanduiding voor tekst 9">
            <a:extLst>
              <a:ext uri="{FF2B5EF4-FFF2-40B4-BE49-F238E27FC236}">
                <a16:creationId xmlns:a16="http://schemas.microsoft.com/office/drawing/2014/main" id="{99F5AD62-7811-4C21-A6CA-411B856BD840}"/>
              </a:ext>
            </a:extLst>
          </p:cNvPr>
          <p:cNvSpPr>
            <a:spLocks noGrp="1"/>
          </p:cNvSpPr>
          <p:nvPr>
            <p:ph type="body" sz="quarter" idx="52" hasCustomPrompt="1"/>
          </p:nvPr>
        </p:nvSpPr>
        <p:spPr>
          <a:xfrm>
            <a:off x="2800253" y="2431181"/>
            <a:ext cx="1836000" cy="153591"/>
          </a:xfrm>
        </p:spPr>
        <p:txBody>
          <a:bodyPr>
            <a:noAutofit/>
          </a:bodyPr>
          <a:lstStyle>
            <a:lvl1pPr>
              <a:defRPr sz="1200" b="1"/>
            </a:lvl1pPr>
          </a:lstStyle>
          <a:p>
            <a:pPr lvl="0"/>
            <a:r>
              <a:rPr lang="en-GB" noProof="0" dirty="0"/>
              <a:t>Name</a:t>
            </a:r>
          </a:p>
        </p:txBody>
      </p:sp>
      <p:sp>
        <p:nvSpPr>
          <p:cNvPr id="62" name="Tijdelijke aanduiding voor tekst 9">
            <a:extLst>
              <a:ext uri="{FF2B5EF4-FFF2-40B4-BE49-F238E27FC236}">
                <a16:creationId xmlns:a16="http://schemas.microsoft.com/office/drawing/2014/main" id="{4BFF88FB-8A8E-4124-83FB-3ABC05F08FF0}"/>
              </a:ext>
            </a:extLst>
          </p:cNvPr>
          <p:cNvSpPr>
            <a:spLocks noGrp="1"/>
          </p:cNvSpPr>
          <p:nvPr>
            <p:ph type="body" sz="quarter" idx="53" hasCustomPrompt="1"/>
          </p:nvPr>
        </p:nvSpPr>
        <p:spPr>
          <a:xfrm>
            <a:off x="2814292" y="2635948"/>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63" name="Tijdelijke aanduiding voor tekst 9">
            <a:extLst>
              <a:ext uri="{FF2B5EF4-FFF2-40B4-BE49-F238E27FC236}">
                <a16:creationId xmlns:a16="http://schemas.microsoft.com/office/drawing/2014/main" id="{85024BBE-78C0-4CAA-9DAA-29D037B65B7B}"/>
              </a:ext>
            </a:extLst>
          </p:cNvPr>
          <p:cNvSpPr>
            <a:spLocks noGrp="1"/>
          </p:cNvSpPr>
          <p:nvPr>
            <p:ph type="body" sz="quarter" idx="54" hasCustomPrompt="1"/>
          </p:nvPr>
        </p:nvSpPr>
        <p:spPr>
          <a:xfrm>
            <a:off x="2800253" y="2883127"/>
            <a:ext cx="1836000" cy="153591"/>
          </a:xfrm>
        </p:spPr>
        <p:txBody>
          <a:bodyPr>
            <a:noAutofit/>
          </a:bodyPr>
          <a:lstStyle>
            <a:lvl1pPr>
              <a:defRPr sz="1200" b="1"/>
            </a:lvl1pPr>
          </a:lstStyle>
          <a:p>
            <a:pPr lvl="0"/>
            <a:r>
              <a:rPr lang="en-GB" noProof="0" dirty="0"/>
              <a:t>Name</a:t>
            </a:r>
          </a:p>
        </p:txBody>
      </p:sp>
      <p:sp>
        <p:nvSpPr>
          <p:cNvPr id="64" name="Tijdelijke aanduiding voor tekst 9">
            <a:extLst>
              <a:ext uri="{FF2B5EF4-FFF2-40B4-BE49-F238E27FC236}">
                <a16:creationId xmlns:a16="http://schemas.microsoft.com/office/drawing/2014/main" id="{C6C5D9D2-3038-4FC3-A99D-B078060F565C}"/>
              </a:ext>
            </a:extLst>
          </p:cNvPr>
          <p:cNvSpPr>
            <a:spLocks noGrp="1"/>
          </p:cNvSpPr>
          <p:nvPr>
            <p:ph type="body" sz="quarter" idx="55" hasCustomPrompt="1"/>
          </p:nvPr>
        </p:nvSpPr>
        <p:spPr>
          <a:xfrm>
            <a:off x="2814292" y="30878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65" name="Tijdelijke aanduiding voor tekst 9">
            <a:extLst>
              <a:ext uri="{FF2B5EF4-FFF2-40B4-BE49-F238E27FC236}">
                <a16:creationId xmlns:a16="http://schemas.microsoft.com/office/drawing/2014/main" id="{1A553C12-1E5D-447D-877E-F561A41F2651}"/>
              </a:ext>
            </a:extLst>
          </p:cNvPr>
          <p:cNvSpPr>
            <a:spLocks noGrp="1"/>
          </p:cNvSpPr>
          <p:nvPr>
            <p:ph type="body" sz="quarter" idx="56" hasCustomPrompt="1"/>
          </p:nvPr>
        </p:nvSpPr>
        <p:spPr>
          <a:xfrm>
            <a:off x="2800253" y="3335726"/>
            <a:ext cx="1836000" cy="153591"/>
          </a:xfrm>
        </p:spPr>
        <p:txBody>
          <a:bodyPr>
            <a:noAutofit/>
          </a:bodyPr>
          <a:lstStyle>
            <a:lvl1pPr>
              <a:defRPr sz="1200" b="1"/>
            </a:lvl1pPr>
          </a:lstStyle>
          <a:p>
            <a:pPr lvl="0"/>
            <a:r>
              <a:rPr lang="en-GB" noProof="0" dirty="0"/>
              <a:t>Name</a:t>
            </a:r>
          </a:p>
        </p:txBody>
      </p:sp>
      <p:sp>
        <p:nvSpPr>
          <p:cNvPr id="66" name="Tijdelijke aanduiding voor tekst 9">
            <a:extLst>
              <a:ext uri="{FF2B5EF4-FFF2-40B4-BE49-F238E27FC236}">
                <a16:creationId xmlns:a16="http://schemas.microsoft.com/office/drawing/2014/main" id="{59118EC4-F3DF-443D-85E2-3E9A8BD9EC29}"/>
              </a:ext>
            </a:extLst>
          </p:cNvPr>
          <p:cNvSpPr>
            <a:spLocks noGrp="1"/>
          </p:cNvSpPr>
          <p:nvPr>
            <p:ph type="body" sz="quarter" idx="57" hasCustomPrompt="1"/>
          </p:nvPr>
        </p:nvSpPr>
        <p:spPr>
          <a:xfrm>
            <a:off x="2800253" y="35404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67" name="Tijdelijke aanduiding voor tekst 9">
            <a:extLst>
              <a:ext uri="{FF2B5EF4-FFF2-40B4-BE49-F238E27FC236}">
                <a16:creationId xmlns:a16="http://schemas.microsoft.com/office/drawing/2014/main" id="{430AF363-341D-4CEA-948D-A05F98C874FF}"/>
              </a:ext>
            </a:extLst>
          </p:cNvPr>
          <p:cNvSpPr>
            <a:spLocks noGrp="1"/>
          </p:cNvSpPr>
          <p:nvPr>
            <p:ph type="body" sz="quarter" idx="58" hasCustomPrompt="1"/>
          </p:nvPr>
        </p:nvSpPr>
        <p:spPr>
          <a:xfrm>
            <a:off x="2800253" y="3787481"/>
            <a:ext cx="1836000" cy="153591"/>
          </a:xfrm>
        </p:spPr>
        <p:txBody>
          <a:bodyPr>
            <a:noAutofit/>
          </a:bodyPr>
          <a:lstStyle>
            <a:lvl1pPr>
              <a:defRPr sz="1200" b="1"/>
            </a:lvl1pPr>
          </a:lstStyle>
          <a:p>
            <a:pPr lvl="0"/>
            <a:r>
              <a:rPr lang="en-GB" noProof="0" dirty="0"/>
              <a:t>Name</a:t>
            </a:r>
          </a:p>
        </p:txBody>
      </p:sp>
      <p:sp>
        <p:nvSpPr>
          <p:cNvPr id="68" name="Tijdelijke aanduiding voor tekst 9">
            <a:extLst>
              <a:ext uri="{FF2B5EF4-FFF2-40B4-BE49-F238E27FC236}">
                <a16:creationId xmlns:a16="http://schemas.microsoft.com/office/drawing/2014/main" id="{ECDB0934-71DC-4938-95FF-8D6FDA0670A9}"/>
              </a:ext>
            </a:extLst>
          </p:cNvPr>
          <p:cNvSpPr>
            <a:spLocks noGrp="1"/>
          </p:cNvSpPr>
          <p:nvPr>
            <p:ph type="body" sz="quarter" idx="59" hasCustomPrompt="1"/>
          </p:nvPr>
        </p:nvSpPr>
        <p:spPr>
          <a:xfrm>
            <a:off x="2800253" y="3992247"/>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69" name="Tijdelijke aanduiding voor tekst 9">
            <a:extLst>
              <a:ext uri="{FF2B5EF4-FFF2-40B4-BE49-F238E27FC236}">
                <a16:creationId xmlns:a16="http://schemas.microsoft.com/office/drawing/2014/main" id="{60590D66-8154-4433-86A7-164BA3A741ED}"/>
              </a:ext>
            </a:extLst>
          </p:cNvPr>
          <p:cNvSpPr>
            <a:spLocks noGrp="1"/>
          </p:cNvSpPr>
          <p:nvPr>
            <p:ph type="body" sz="quarter" idx="60" hasCustomPrompt="1"/>
          </p:nvPr>
        </p:nvSpPr>
        <p:spPr>
          <a:xfrm>
            <a:off x="4727135" y="2431181"/>
            <a:ext cx="1836000" cy="153591"/>
          </a:xfrm>
        </p:spPr>
        <p:txBody>
          <a:bodyPr>
            <a:noAutofit/>
          </a:bodyPr>
          <a:lstStyle>
            <a:lvl1pPr>
              <a:defRPr sz="1200" b="1"/>
            </a:lvl1pPr>
          </a:lstStyle>
          <a:p>
            <a:pPr lvl="0"/>
            <a:r>
              <a:rPr lang="en-GB" noProof="0" dirty="0"/>
              <a:t>Name</a:t>
            </a:r>
          </a:p>
        </p:txBody>
      </p:sp>
      <p:sp>
        <p:nvSpPr>
          <p:cNvPr id="70" name="Tijdelijke aanduiding voor tekst 9">
            <a:extLst>
              <a:ext uri="{FF2B5EF4-FFF2-40B4-BE49-F238E27FC236}">
                <a16:creationId xmlns:a16="http://schemas.microsoft.com/office/drawing/2014/main" id="{AF64A3CF-C0EB-459D-95B0-9E65CEA91182}"/>
              </a:ext>
            </a:extLst>
          </p:cNvPr>
          <p:cNvSpPr>
            <a:spLocks noGrp="1"/>
          </p:cNvSpPr>
          <p:nvPr>
            <p:ph type="body" sz="quarter" idx="61" hasCustomPrompt="1"/>
          </p:nvPr>
        </p:nvSpPr>
        <p:spPr>
          <a:xfrm>
            <a:off x="4741174" y="2635948"/>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71" name="Tijdelijke aanduiding voor tekst 9">
            <a:extLst>
              <a:ext uri="{FF2B5EF4-FFF2-40B4-BE49-F238E27FC236}">
                <a16:creationId xmlns:a16="http://schemas.microsoft.com/office/drawing/2014/main" id="{BBF28777-D4CA-4843-A3E2-762904952106}"/>
              </a:ext>
            </a:extLst>
          </p:cNvPr>
          <p:cNvSpPr>
            <a:spLocks noGrp="1"/>
          </p:cNvSpPr>
          <p:nvPr>
            <p:ph type="body" sz="quarter" idx="62" hasCustomPrompt="1"/>
          </p:nvPr>
        </p:nvSpPr>
        <p:spPr>
          <a:xfrm>
            <a:off x="4727135" y="2883127"/>
            <a:ext cx="1836000" cy="153591"/>
          </a:xfrm>
        </p:spPr>
        <p:txBody>
          <a:bodyPr>
            <a:noAutofit/>
          </a:bodyPr>
          <a:lstStyle>
            <a:lvl1pPr>
              <a:defRPr sz="1200" b="1"/>
            </a:lvl1pPr>
          </a:lstStyle>
          <a:p>
            <a:pPr lvl="0"/>
            <a:r>
              <a:rPr lang="en-GB" noProof="0" dirty="0"/>
              <a:t>Name</a:t>
            </a:r>
          </a:p>
        </p:txBody>
      </p:sp>
      <p:sp>
        <p:nvSpPr>
          <p:cNvPr id="72" name="Tijdelijke aanduiding voor tekst 9">
            <a:extLst>
              <a:ext uri="{FF2B5EF4-FFF2-40B4-BE49-F238E27FC236}">
                <a16:creationId xmlns:a16="http://schemas.microsoft.com/office/drawing/2014/main" id="{A546279E-EFBE-44A5-9DF1-F5681DE2C06A}"/>
              </a:ext>
            </a:extLst>
          </p:cNvPr>
          <p:cNvSpPr>
            <a:spLocks noGrp="1"/>
          </p:cNvSpPr>
          <p:nvPr>
            <p:ph type="body" sz="quarter" idx="63" hasCustomPrompt="1"/>
          </p:nvPr>
        </p:nvSpPr>
        <p:spPr>
          <a:xfrm>
            <a:off x="4741174" y="30878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73" name="Tijdelijke aanduiding voor tekst 9">
            <a:extLst>
              <a:ext uri="{FF2B5EF4-FFF2-40B4-BE49-F238E27FC236}">
                <a16:creationId xmlns:a16="http://schemas.microsoft.com/office/drawing/2014/main" id="{774410CC-6370-4C11-9837-235F49846D87}"/>
              </a:ext>
            </a:extLst>
          </p:cNvPr>
          <p:cNvSpPr>
            <a:spLocks noGrp="1"/>
          </p:cNvSpPr>
          <p:nvPr>
            <p:ph type="body" sz="quarter" idx="64" hasCustomPrompt="1"/>
          </p:nvPr>
        </p:nvSpPr>
        <p:spPr>
          <a:xfrm>
            <a:off x="4727135" y="3335726"/>
            <a:ext cx="1836000" cy="153591"/>
          </a:xfrm>
        </p:spPr>
        <p:txBody>
          <a:bodyPr>
            <a:noAutofit/>
          </a:bodyPr>
          <a:lstStyle>
            <a:lvl1pPr>
              <a:defRPr sz="1200" b="1"/>
            </a:lvl1pPr>
          </a:lstStyle>
          <a:p>
            <a:pPr lvl="0"/>
            <a:r>
              <a:rPr lang="en-GB" noProof="0" dirty="0"/>
              <a:t>Name</a:t>
            </a:r>
          </a:p>
        </p:txBody>
      </p:sp>
      <p:sp>
        <p:nvSpPr>
          <p:cNvPr id="74" name="Tijdelijke aanduiding voor tekst 9">
            <a:extLst>
              <a:ext uri="{FF2B5EF4-FFF2-40B4-BE49-F238E27FC236}">
                <a16:creationId xmlns:a16="http://schemas.microsoft.com/office/drawing/2014/main" id="{1133B606-5217-4275-8EBE-1D3F8AC772A3}"/>
              </a:ext>
            </a:extLst>
          </p:cNvPr>
          <p:cNvSpPr>
            <a:spLocks noGrp="1"/>
          </p:cNvSpPr>
          <p:nvPr>
            <p:ph type="body" sz="quarter" idx="65" hasCustomPrompt="1"/>
          </p:nvPr>
        </p:nvSpPr>
        <p:spPr>
          <a:xfrm>
            <a:off x="4741174" y="35404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75" name="Tijdelijke aanduiding voor tekst 9">
            <a:extLst>
              <a:ext uri="{FF2B5EF4-FFF2-40B4-BE49-F238E27FC236}">
                <a16:creationId xmlns:a16="http://schemas.microsoft.com/office/drawing/2014/main" id="{AF31008E-2295-4ABE-B74C-B448EB6214E3}"/>
              </a:ext>
            </a:extLst>
          </p:cNvPr>
          <p:cNvSpPr>
            <a:spLocks noGrp="1"/>
          </p:cNvSpPr>
          <p:nvPr>
            <p:ph type="body" sz="quarter" idx="66" hasCustomPrompt="1"/>
          </p:nvPr>
        </p:nvSpPr>
        <p:spPr>
          <a:xfrm>
            <a:off x="4727135" y="3787481"/>
            <a:ext cx="1836000" cy="153591"/>
          </a:xfrm>
        </p:spPr>
        <p:txBody>
          <a:bodyPr>
            <a:noAutofit/>
          </a:bodyPr>
          <a:lstStyle>
            <a:lvl1pPr>
              <a:defRPr sz="1200" b="1"/>
            </a:lvl1pPr>
          </a:lstStyle>
          <a:p>
            <a:pPr lvl="0"/>
            <a:r>
              <a:rPr lang="en-GB" noProof="0" dirty="0"/>
              <a:t>Name</a:t>
            </a:r>
          </a:p>
        </p:txBody>
      </p:sp>
      <p:sp>
        <p:nvSpPr>
          <p:cNvPr id="76" name="Tijdelijke aanduiding voor tekst 9">
            <a:extLst>
              <a:ext uri="{FF2B5EF4-FFF2-40B4-BE49-F238E27FC236}">
                <a16:creationId xmlns:a16="http://schemas.microsoft.com/office/drawing/2014/main" id="{7774C7BC-FC98-452A-9DAB-F1B4882B7982}"/>
              </a:ext>
            </a:extLst>
          </p:cNvPr>
          <p:cNvSpPr>
            <a:spLocks noGrp="1"/>
          </p:cNvSpPr>
          <p:nvPr>
            <p:ph type="body" sz="quarter" idx="67" hasCustomPrompt="1"/>
          </p:nvPr>
        </p:nvSpPr>
        <p:spPr>
          <a:xfrm>
            <a:off x="4727135" y="3992247"/>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77" name="Tijdelijke aanduiding voor tekst 9">
            <a:extLst>
              <a:ext uri="{FF2B5EF4-FFF2-40B4-BE49-F238E27FC236}">
                <a16:creationId xmlns:a16="http://schemas.microsoft.com/office/drawing/2014/main" id="{045B2691-2D95-4964-A7AA-2F1F3303C393}"/>
              </a:ext>
            </a:extLst>
          </p:cNvPr>
          <p:cNvSpPr>
            <a:spLocks noGrp="1"/>
          </p:cNvSpPr>
          <p:nvPr>
            <p:ph type="body" sz="quarter" idx="68" hasCustomPrompt="1"/>
          </p:nvPr>
        </p:nvSpPr>
        <p:spPr>
          <a:xfrm>
            <a:off x="6654016" y="2431181"/>
            <a:ext cx="1836000" cy="153591"/>
          </a:xfrm>
        </p:spPr>
        <p:txBody>
          <a:bodyPr>
            <a:noAutofit/>
          </a:bodyPr>
          <a:lstStyle>
            <a:lvl1pPr>
              <a:defRPr sz="1200" b="1"/>
            </a:lvl1pPr>
          </a:lstStyle>
          <a:p>
            <a:pPr lvl="0"/>
            <a:r>
              <a:rPr lang="en-GB" noProof="0" dirty="0"/>
              <a:t>Name</a:t>
            </a:r>
          </a:p>
        </p:txBody>
      </p:sp>
      <p:sp>
        <p:nvSpPr>
          <p:cNvPr id="78" name="Tijdelijke aanduiding voor tekst 9">
            <a:extLst>
              <a:ext uri="{FF2B5EF4-FFF2-40B4-BE49-F238E27FC236}">
                <a16:creationId xmlns:a16="http://schemas.microsoft.com/office/drawing/2014/main" id="{50A10DC5-3B79-46D1-8627-9F59BB15C9DF}"/>
              </a:ext>
            </a:extLst>
          </p:cNvPr>
          <p:cNvSpPr>
            <a:spLocks noGrp="1"/>
          </p:cNvSpPr>
          <p:nvPr>
            <p:ph type="body" sz="quarter" idx="69" hasCustomPrompt="1"/>
          </p:nvPr>
        </p:nvSpPr>
        <p:spPr>
          <a:xfrm>
            <a:off x="6668055" y="2635948"/>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79" name="Tijdelijke aanduiding voor tekst 9">
            <a:extLst>
              <a:ext uri="{FF2B5EF4-FFF2-40B4-BE49-F238E27FC236}">
                <a16:creationId xmlns:a16="http://schemas.microsoft.com/office/drawing/2014/main" id="{6E76ADAF-B370-468A-99FD-AB2E062B47C5}"/>
              </a:ext>
            </a:extLst>
          </p:cNvPr>
          <p:cNvSpPr>
            <a:spLocks noGrp="1"/>
          </p:cNvSpPr>
          <p:nvPr>
            <p:ph type="body" sz="quarter" idx="70" hasCustomPrompt="1"/>
          </p:nvPr>
        </p:nvSpPr>
        <p:spPr>
          <a:xfrm>
            <a:off x="6654016" y="2883127"/>
            <a:ext cx="1836000" cy="153591"/>
          </a:xfrm>
        </p:spPr>
        <p:txBody>
          <a:bodyPr>
            <a:noAutofit/>
          </a:bodyPr>
          <a:lstStyle>
            <a:lvl1pPr>
              <a:defRPr sz="1200" b="1"/>
            </a:lvl1pPr>
          </a:lstStyle>
          <a:p>
            <a:pPr lvl="0"/>
            <a:r>
              <a:rPr lang="en-GB" noProof="0" dirty="0"/>
              <a:t>Name</a:t>
            </a:r>
          </a:p>
        </p:txBody>
      </p:sp>
      <p:sp>
        <p:nvSpPr>
          <p:cNvPr id="80" name="Tijdelijke aanduiding voor tekst 9">
            <a:extLst>
              <a:ext uri="{FF2B5EF4-FFF2-40B4-BE49-F238E27FC236}">
                <a16:creationId xmlns:a16="http://schemas.microsoft.com/office/drawing/2014/main" id="{58285513-0CDA-4BE1-A074-507A6B20ABDC}"/>
              </a:ext>
            </a:extLst>
          </p:cNvPr>
          <p:cNvSpPr>
            <a:spLocks noGrp="1"/>
          </p:cNvSpPr>
          <p:nvPr>
            <p:ph type="body" sz="quarter" idx="71" hasCustomPrompt="1"/>
          </p:nvPr>
        </p:nvSpPr>
        <p:spPr>
          <a:xfrm>
            <a:off x="6668055" y="30878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81" name="Tijdelijke aanduiding voor tekst 9">
            <a:extLst>
              <a:ext uri="{FF2B5EF4-FFF2-40B4-BE49-F238E27FC236}">
                <a16:creationId xmlns:a16="http://schemas.microsoft.com/office/drawing/2014/main" id="{D629EB20-5778-4B9E-9B14-199130F98090}"/>
              </a:ext>
            </a:extLst>
          </p:cNvPr>
          <p:cNvSpPr>
            <a:spLocks noGrp="1"/>
          </p:cNvSpPr>
          <p:nvPr>
            <p:ph type="body" sz="quarter" idx="72" hasCustomPrompt="1"/>
          </p:nvPr>
        </p:nvSpPr>
        <p:spPr>
          <a:xfrm>
            <a:off x="6654016" y="3335726"/>
            <a:ext cx="1836000" cy="153591"/>
          </a:xfrm>
        </p:spPr>
        <p:txBody>
          <a:bodyPr>
            <a:noAutofit/>
          </a:bodyPr>
          <a:lstStyle>
            <a:lvl1pPr>
              <a:defRPr sz="1200" b="1"/>
            </a:lvl1pPr>
          </a:lstStyle>
          <a:p>
            <a:pPr lvl="0"/>
            <a:r>
              <a:rPr lang="en-GB" noProof="0" dirty="0"/>
              <a:t>Name</a:t>
            </a:r>
          </a:p>
        </p:txBody>
      </p:sp>
      <p:sp>
        <p:nvSpPr>
          <p:cNvPr id="82" name="Tijdelijke aanduiding voor tekst 9">
            <a:extLst>
              <a:ext uri="{FF2B5EF4-FFF2-40B4-BE49-F238E27FC236}">
                <a16:creationId xmlns:a16="http://schemas.microsoft.com/office/drawing/2014/main" id="{5869BA4C-24F5-491B-9549-44562AEFA3D3}"/>
              </a:ext>
            </a:extLst>
          </p:cNvPr>
          <p:cNvSpPr>
            <a:spLocks noGrp="1"/>
          </p:cNvSpPr>
          <p:nvPr>
            <p:ph type="body" sz="quarter" idx="73" hasCustomPrompt="1"/>
          </p:nvPr>
        </p:nvSpPr>
        <p:spPr>
          <a:xfrm>
            <a:off x="6668055" y="3540493"/>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83" name="Tijdelijke aanduiding voor tekst 9">
            <a:extLst>
              <a:ext uri="{FF2B5EF4-FFF2-40B4-BE49-F238E27FC236}">
                <a16:creationId xmlns:a16="http://schemas.microsoft.com/office/drawing/2014/main" id="{202DA70C-6FC9-4E4A-9BB0-BF0114062E4A}"/>
              </a:ext>
            </a:extLst>
          </p:cNvPr>
          <p:cNvSpPr>
            <a:spLocks noGrp="1"/>
          </p:cNvSpPr>
          <p:nvPr>
            <p:ph type="body" sz="quarter" idx="74" hasCustomPrompt="1"/>
          </p:nvPr>
        </p:nvSpPr>
        <p:spPr>
          <a:xfrm>
            <a:off x="6654016" y="3787481"/>
            <a:ext cx="1836000" cy="153591"/>
          </a:xfrm>
        </p:spPr>
        <p:txBody>
          <a:bodyPr>
            <a:noAutofit/>
          </a:bodyPr>
          <a:lstStyle>
            <a:lvl1pPr>
              <a:defRPr sz="1200" b="1"/>
            </a:lvl1pPr>
          </a:lstStyle>
          <a:p>
            <a:pPr lvl="0"/>
            <a:r>
              <a:rPr lang="en-GB" noProof="0" dirty="0"/>
              <a:t>Name</a:t>
            </a:r>
          </a:p>
        </p:txBody>
      </p:sp>
      <p:sp>
        <p:nvSpPr>
          <p:cNvPr id="84" name="Tijdelijke aanduiding voor tekst 9">
            <a:extLst>
              <a:ext uri="{FF2B5EF4-FFF2-40B4-BE49-F238E27FC236}">
                <a16:creationId xmlns:a16="http://schemas.microsoft.com/office/drawing/2014/main" id="{F0316C87-FEAF-4E79-966E-0B5173C3EB6A}"/>
              </a:ext>
            </a:extLst>
          </p:cNvPr>
          <p:cNvSpPr>
            <a:spLocks noGrp="1"/>
          </p:cNvSpPr>
          <p:nvPr>
            <p:ph type="body" sz="quarter" idx="75" hasCustomPrompt="1"/>
          </p:nvPr>
        </p:nvSpPr>
        <p:spPr>
          <a:xfrm>
            <a:off x="6654016" y="3992247"/>
            <a:ext cx="1836000" cy="153591"/>
          </a:xfrm>
        </p:spPr>
        <p:txBody>
          <a:bodyPr>
            <a:noAutofit/>
          </a:bodyPr>
          <a:lstStyle>
            <a:lvl1pPr>
              <a:defRPr sz="1050" b="0">
                <a:solidFill>
                  <a:schemeClr val="accent6"/>
                </a:solidFill>
              </a:defRPr>
            </a:lvl1pPr>
          </a:lstStyle>
          <a:p>
            <a:pPr lvl="0"/>
            <a:r>
              <a:rPr lang="en-GB" noProof="0" dirty="0"/>
              <a:t>Position/title</a:t>
            </a:r>
          </a:p>
        </p:txBody>
      </p:sp>
      <p:sp>
        <p:nvSpPr>
          <p:cNvPr id="52" name="Tijdelijke aanduiding voor datum 3">
            <a:extLst>
              <a:ext uri="{FF2B5EF4-FFF2-40B4-BE49-F238E27FC236}">
                <a16:creationId xmlns:a16="http://schemas.microsoft.com/office/drawing/2014/main" id="{D9EAFB24-AE70-4F10-B766-C55CFEA832C5}"/>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55" name="Tijdelijke aanduiding voor voettekst 4">
            <a:extLst>
              <a:ext uri="{FF2B5EF4-FFF2-40B4-BE49-F238E27FC236}">
                <a16:creationId xmlns:a16="http://schemas.microsoft.com/office/drawing/2014/main" id="{1E27E025-9B4F-4EE6-8475-FA6BDED000FE}"/>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57" name="Tijdelijke aanduiding voor dianummer 5">
            <a:extLst>
              <a:ext uri="{FF2B5EF4-FFF2-40B4-BE49-F238E27FC236}">
                <a16:creationId xmlns:a16="http://schemas.microsoft.com/office/drawing/2014/main" id="{8A3ADC05-9821-42E9-BA7B-62837F2E0915}"/>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59486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slide (new paragraph)">
    <p:bg>
      <p:bgPr>
        <a:blipFill dpi="0" rotWithShape="1">
          <a:blip r:embed="rId2">
            <a:lum/>
          </a:blip>
          <a:srcRect/>
          <a:stretch>
            <a:fillRect l="-1000" r="-1000"/>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8B0EFD-C6A4-4FE8-94AC-5B8FF1CEE7D9}"/>
              </a:ext>
            </a:extLst>
          </p:cNvPr>
          <p:cNvSpPr>
            <a:spLocks noGrp="1"/>
          </p:cNvSpPr>
          <p:nvPr>
            <p:ph type="title" hasCustomPrompt="1"/>
          </p:nvPr>
        </p:nvSpPr>
        <p:spPr>
          <a:xfrm>
            <a:off x="268886" y="1309993"/>
            <a:ext cx="7886700" cy="511016"/>
          </a:xfrm>
          <a:prstGeom prst="rect">
            <a:avLst/>
          </a:prstGeom>
        </p:spPr>
        <p:txBody>
          <a:bodyPr anchor="t">
            <a:noAutofit/>
          </a:bodyPr>
          <a:lstStyle>
            <a:lvl1pPr>
              <a:defRPr sz="3150">
                <a:solidFill>
                  <a:schemeClr val="bg1"/>
                </a:solidFill>
              </a:defRPr>
            </a:lvl1pPr>
          </a:lstStyle>
          <a:p>
            <a:r>
              <a:rPr lang="en-GB" noProof="0" dirty="0"/>
              <a:t>Click to add Section #</a:t>
            </a:r>
          </a:p>
        </p:txBody>
      </p:sp>
      <p:sp>
        <p:nvSpPr>
          <p:cNvPr id="3" name="Tijdelijke aanduiding voor tekst 2">
            <a:extLst>
              <a:ext uri="{FF2B5EF4-FFF2-40B4-BE49-F238E27FC236}">
                <a16:creationId xmlns:a16="http://schemas.microsoft.com/office/drawing/2014/main" id="{055B27B1-0D9B-4237-AEB3-87C3CB41AEF1}"/>
              </a:ext>
            </a:extLst>
          </p:cNvPr>
          <p:cNvSpPr>
            <a:spLocks noGrp="1"/>
          </p:cNvSpPr>
          <p:nvPr>
            <p:ph type="body" idx="1" hasCustomPrompt="1"/>
          </p:nvPr>
        </p:nvSpPr>
        <p:spPr>
          <a:xfrm>
            <a:off x="268886" y="1750321"/>
            <a:ext cx="7886700" cy="1125140"/>
          </a:xfrm>
        </p:spPr>
        <p:txBody>
          <a:bodyPr lIns="90000">
            <a:noAutofit/>
          </a:bodyPr>
          <a:lstStyle>
            <a:lvl1pPr marL="0" indent="0">
              <a:buNone/>
              <a:defRPr sz="315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lang="en-GB" noProof="0" dirty="0"/>
              <a:t>Click to edit section title</a:t>
            </a:r>
          </a:p>
        </p:txBody>
      </p:sp>
      <p:cxnSp>
        <p:nvCxnSpPr>
          <p:cNvPr id="11" name="Rechte verbindingslijn 10">
            <a:extLst>
              <a:ext uri="{FF2B5EF4-FFF2-40B4-BE49-F238E27FC236}">
                <a16:creationId xmlns:a16="http://schemas.microsoft.com/office/drawing/2014/main" id="{531C6895-BDED-4B71-85F9-6EBE31CB538D}"/>
              </a:ext>
            </a:extLst>
          </p:cNvPr>
          <p:cNvCxnSpPr/>
          <p:nvPr userDrawn="1"/>
        </p:nvCxnSpPr>
        <p:spPr>
          <a:xfrm>
            <a:off x="0" y="995963"/>
            <a:ext cx="3735422" cy="0"/>
          </a:xfrm>
          <a:prstGeom prst="line">
            <a:avLst/>
          </a:prstGeom>
          <a:ln w="254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11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 content slide: fullscre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9A692-14AE-4628-BC7A-01FC2AED47BB}"/>
              </a:ext>
            </a:extLst>
          </p:cNvPr>
          <p:cNvSpPr>
            <a:spLocks noGrp="1"/>
          </p:cNvSpPr>
          <p:nvPr>
            <p:ph type="title" hasCustomPrompt="1"/>
          </p:nvPr>
        </p:nvSpPr>
        <p:spPr>
          <a:xfrm>
            <a:off x="270000" y="57610"/>
            <a:ext cx="8210100" cy="847800"/>
          </a:xfrm>
          <a:prstGeom prst="rect">
            <a:avLst/>
          </a:prstGeom>
        </p:spPr>
        <p:txBody>
          <a:bodyPr vert="horz" lIns="91440" tIns="45720" rIns="91440" bIns="45720" rtlCol="0" anchor="b">
            <a:normAutofit/>
          </a:bodyPr>
          <a:lstStyle>
            <a:lvl1pPr>
              <a:defRPr lang="nl-NL" dirty="0"/>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A03E38F0-AFEB-4D48-9A07-6D7D2F9A84BA}"/>
              </a:ext>
            </a:extLst>
          </p:cNvPr>
          <p:cNvSpPr>
            <a:spLocks noGrp="1"/>
          </p:cNvSpPr>
          <p:nvPr>
            <p:ph idx="1" hasCustomPrompt="1"/>
          </p:nvPr>
        </p:nvSpPr>
        <p:spPr>
          <a:xfrm>
            <a:off x="859923" y="1326798"/>
            <a:ext cx="7620178" cy="3102328"/>
          </a:xfrm>
        </p:spPr>
        <p:txBody>
          <a:bodyPr/>
          <a:lstStyle>
            <a:lvl1pPr marL="152400" indent="-152400">
              <a:buFont typeface="Arial" panose="020B0604020202020204" pitchFamily="34" charset="0"/>
              <a:buChar char="•"/>
              <a:defRPr/>
            </a:lvl1pPr>
            <a:lvl2pPr>
              <a:spcBef>
                <a:spcPts val="300"/>
              </a:spcBef>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jdelijke aanduiding voor datum 3">
            <a:extLst>
              <a:ext uri="{FF2B5EF4-FFF2-40B4-BE49-F238E27FC236}">
                <a16:creationId xmlns:a16="http://schemas.microsoft.com/office/drawing/2014/main" id="{DF0A7AD9-B193-4370-A272-82CC0E4D2F98}"/>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8" name="Tijdelijke aanduiding voor voettekst 4">
            <a:extLst>
              <a:ext uri="{FF2B5EF4-FFF2-40B4-BE49-F238E27FC236}">
                <a16:creationId xmlns:a16="http://schemas.microsoft.com/office/drawing/2014/main" id="{02F2E84F-DD97-4AC0-9CAA-8325399045BD}"/>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11" name="Tijdelijke aanduiding voor dianummer 5">
            <a:extLst>
              <a:ext uri="{FF2B5EF4-FFF2-40B4-BE49-F238E27FC236}">
                <a16:creationId xmlns:a16="http://schemas.microsoft.com/office/drawing/2014/main" id="{A00A7BDA-065E-4DB2-8FCC-E1F72517F5D8}"/>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3400277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content slide: 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CB1F32-867F-46A9-B664-8BB4BA6D2498}"/>
              </a:ext>
            </a:extLst>
          </p:cNvPr>
          <p:cNvSpPr>
            <a:spLocks noGrp="1"/>
          </p:cNvSpPr>
          <p:nvPr>
            <p:ph type="title" hasCustomPrompt="1"/>
          </p:nvPr>
        </p:nvSpPr>
        <p:spPr>
          <a:xfrm>
            <a:off x="270000" y="57610"/>
            <a:ext cx="8217966" cy="847800"/>
          </a:xfrm>
          <a:prstGeom prst="rect">
            <a:avLst/>
          </a:prstGeom>
        </p:spPr>
        <p:txBody>
          <a:bodyPr vert="horz" lIns="91440" tIns="45720" rIns="91440" bIns="45720" rtlCol="0" anchor="b">
            <a:normAutofit/>
          </a:bodyPr>
          <a:lstStyle>
            <a:lvl1pPr>
              <a:defRPr lang="nl-NL"/>
            </a:lvl1pPr>
          </a:lstStyle>
          <a:p>
            <a:pPr lvl="0"/>
            <a:r>
              <a:rPr lang="en-GB" noProof="0" dirty="0"/>
              <a:t>Click to edit title style</a:t>
            </a:r>
          </a:p>
        </p:txBody>
      </p:sp>
      <p:sp>
        <p:nvSpPr>
          <p:cNvPr id="3" name="Tijdelijke aanduiding voor inhoud 2">
            <a:extLst>
              <a:ext uri="{FF2B5EF4-FFF2-40B4-BE49-F238E27FC236}">
                <a16:creationId xmlns:a16="http://schemas.microsoft.com/office/drawing/2014/main" id="{0451485D-5529-40FE-AC0A-1F1A0FDAEA56}"/>
              </a:ext>
            </a:extLst>
          </p:cNvPr>
          <p:cNvSpPr>
            <a:spLocks noGrp="1"/>
          </p:cNvSpPr>
          <p:nvPr>
            <p:ph sz="half" idx="1" hasCustomPrompt="1"/>
          </p:nvPr>
        </p:nvSpPr>
        <p:spPr>
          <a:xfrm>
            <a:off x="859921" y="1326798"/>
            <a:ext cx="3688235" cy="3102328"/>
          </a:xfrm>
        </p:spPr>
        <p:txBody>
          <a:bodyPr/>
          <a:lstStyle>
            <a:lvl1pPr marL="151210" indent="-151210">
              <a:buFont typeface="Arial" panose="020B0604020202020204" pitchFamily="34" charset="0"/>
              <a:buChar char="•"/>
              <a:defRPr/>
            </a:lvl1pPr>
            <a:lvl2pPr>
              <a:defRPr/>
            </a:lvl2pPr>
            <a:lvl3pPr>
              <a:defRPr/>
            </a:lvl3pPr>
            <a:lvl4pPr>
              <a:defRPr/>
            </a:lvl4pPr>
            <a:lvl5pPr>
              <a:defRPr/>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inhoud 3">
            <a:extLst>
              <a:ext uri="{FF2B5EF4-FFF2-40B4-BE49-F238E27FC236}">
                <a16:creationId xmlns:a16="http://schemas.microsoft.com/office/drawing/2014/main" id="{2DEE300B-333D-45D7-837A-C03E0FB00B6B}"/>
              </a:ext>
            </a:extLst>
          </p:cNvPr>
          <p:cNvSpPr>
            <a:spLocks noGrp="1"/>
          </p:cNvSpPr>
          <p:nvPr>
            <p:ph sz="half" idx="2" hasCustomPrompt="1"/>
          </p:nvPr>
        </p:nvSpPr>
        <p:spPr>
          <a:xfrm>
            <a:off x="4799731" y="1326798"/>
            <a:ext cx="3688235" cy="3102328"/>
          </a:xfrm>
        </p:spPr>
        <p:txBody>
          <a:bodyPr vert="horz" lIns="0" tIns="0" rIns="0" bIns="0" rtlCol="0">
            <a:normAutofit/>
          </a:bodyPr>
          <a:lstStyle>
            <a:lvl1pPr marL="151210" indent="-151210">
              <a:buFont typeface="Arial" panose="020B0604020202020204" pitchFamily="34" charset="0"/>
              <a:buChar char="•"/>
              <a:defRPr lang="nl-NL" smtClean="0"/>
            </a:lvl1pPr>
            <a:lvl2pPr>
              <a:defRPr lang="nl-NL" smtClean="0"/>
            </a:lvl2pPr>
            <a:lvl3pPr>
              <a:defRPr lang="nl-NL" smtClean="0"/>
            </a:lvl3pPr>
            <a:lvl4pPr>
              <a:defRPr lang="nl-NL" smtClean="0"/>
            </a:lvl4pPr>
            <a:lvl5pPr>
              <a:defRPr lang="nl-NL"/>
            </a:lvl5p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ijdelijke aanduiding voor datum 3">
            <a:extLst>
              <a:ext uri="{FF2B5EF4-FFF2-40B4-BE49-F238E27FC236}">
                <a16:creationId xmlns:a16="http://schemas.microsoft.com/office/drawing/2014/main" id="{56AB5621-E96B-4384-B52A-EC825F37E4A0}"/>
              </a:ext>
            </a:extLst>
          </p:cNvPr>
          <p:cNvSpPr>
            <a:spLocks noGrp="1"/>
          </p:cNvSpPr>
          <p:nvPr>
            <p:ph type="dt" sz="half" idx="10"/>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9" name="Tijdelijke aanduiding voor voettekst 4">
            <a:extLst>
              <a:ext uri="{FF2B5EF4-FFF2-40B4-BE49-F238E27FC236}">
                <a16:creationId xmlns:a16="http://schemas.microsoft.com/office/drawing/2014/main" id="{8F852A9B-659B-4074-BB47-3E200FF1C1C2}"/>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12" name="Tijdelijke aanduiding voor dianummer 5">
            <a:extLst>
              <a:ext uri="{FF2B5EF4-FFF2-40B4-BE49-F238E27FC236}">
                <a16:creationId xmlns:a16="http://schemas.microsoft.com/office/drawing/2014/main" id="{8F802402-6354-4277-ACE2-B6F3163C4879}"/>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3384757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2FBAC49-4802-3440-8107-C65AE7ADA05A}"/>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350"/>
          </a:p>
        </p:txBody>
      </p:sp>
      <p:sp>
        <p:nvSpPr>
          <p:cNvPr id="3" name="Espace réservé du contenu 2">
            <a:extLst>
              <a:ext uri="{FF2B5EF4-FFF2-40B4-BE49-F238E27FC236}">
                <a16:creationId xmlns:a16="http://schemas.microsoft.com/office/drawing/2014/main" id="{BD2E413D-76E6-5233-CF73-FD49BCAF474D}"/>
              </a:ext>
            </a:extLst>
          </p:cNvPr>
          <p:cNvSpPr>
            <a:spLocks noGrp="1"/>
          </p:cNvSpPr>
          <p:nvPr>
            <p:ph idx="1" hasCustomPrompt="1"/>
          </p:nvPr>
        </p:nvSpPr>
        <p:spPr>
          <a:xfrm>
            <a:off x="548878" y="1035844"/>
            <a:ext cx="6247209" cy="3596879"/>
          </a:xfrm>
        </p:spPr>
        <p:txBody>
          <a:bodyPr lIns="0"/>
          <a:lstStyle>
            <a:lvl1pPr marL="269081" indent="-269081">
              <a:spcBef>
                <a:spcPts val="1350"/>
              </a:spcBef>
              <a:buClr>
                <a:schemeClr val="bg1"/>
              </a:buClr>
              <a:buSzPct val="100000"/>
              <a:buFont typeface="+mj-lt"/>
              <a:buAutoNum type="arabicPeriod"/>
              <a:defRPr>
                <a:solidFill>
                  <a:schemeClr val="bg1"/>
                </a:solidFill>
                <a:latin typeface="+mj-lt"/>
              </a:defRPr>
            </a:lvl1pPr>
            <a:lvl2pPr marL="269081" indent="0">
              <a:buFontTx/>
              <a:buNone/>
              <a:defRPr sz="105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p:txBody>
      </p:sp>
      <p:sp>
        <p:nvSpPr>
          <p:cNvPr id="7" name="ZoneTexte 6">
            <a:extLst>
              <a:ext uri="{FF2B5EF4-FFF2-40B4-BE49-F238E27FC236}">
                <a16:creationId xmlns:a16="http://schemas.microsoft.com/office/drawing/2014/main" id="{4585063C-DA94-C737-8964-5690FC880710}"/>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Sommaire</a:t>
            </a:r>
          </a:p>
        </p:txBody>
      </p:sp>
      <p:grpSp>
        <p:nvGrpSpPr>
          <p:cNvPr id="17" name="Group 12">
            <a:extLst>
              <a:ext uri="{FF2B5EF4-FFF2-40B4-BE49-F238E27FC236}">
                <a16:creationId xmlns:a16="http://schemas.microsoft.com/office/drawing/2014/main" id="{DFC7A27D-F544-3847-F87B-0DF45C44C0D3}"/>
              </a:ext>
            </a:extLst>
          </p:cNvPr>
          <p:cNvGrpSpPr>
            <a:grpSpLocks noChangeAspect="1"/>
          </p:cNvGrpSpPr>
          <p:nvPr userDrawn="1"/>
        </p:nvGrpSpPr>
        <p:grpSpPr bwMode="auto">
          <a:xfrm>
            <a:off x="200145" y="4757738"/>
            <a:ext cx="237530" cy="237530"/>
            <a:chOff x="461" y="3861"/>
            <a:chExt cx="304" cy="304"/>
          </a:xfrm>
        </p:grpSpPr>
        <p:sp>
          <p:nvSpPr>
            <p:cNvPr id="18" name="AutoShape 11">
              <a:extLst>
                <a:ext uri="{FF2B5EF4-FFF2-40B4-BE49-F238E27FC236}">
                  <a16:creationId xmlns:a16="http://schemas.microsoft.com/office/drawing/2014/main" id="{C581EC54-E4C7-2B85-765F-226E90ED37F9}"/>
                </a:ext>
              </a:extLst>
            </p:cNvPr>
            <p:cNvSpPr>
              <a:spLocks noChangeAspect="1" noChangeArrowheads="1" noTextEdit="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19" name="Rectangle 13">
              <a:extLst>
                <a:ext uri="{FF2B5EF4-FFF2-40B4-BE49-F238E27FC236}">
                  <a16:creationId xmlns:a16="http://schemas.microsoft.com/office/drawing/2014/main" id="{024FFC00-E238-123D-8547-D317547D5C21}"/>
                </a:ext>
              </a:extLst>
            </p:cNvPr>
            <p:cNvSpPr>
              <a:spLocks noChangeArrowheads="1"/>
            </p:cNvSpPr>
            <p:nvPr userDrawn="1"/>
          </p:nvSpPr>
          <p:spPr bwMode="auto">
            <a:xfrm>
              <a:off x="461" y="3861"/>
              <a:ext cx="304" cy="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0" name="Rectangle 14">
              <a:extLst>
                <a:ext uri="{FF2B5EF4-FFF2-40B4-BE49-F238E27FC236}">
                  <a16:creationId xmlns:a16="http://schemas.microsoft.com/office/drawing/2014/main" id="{26FC7AA9-98AE-CF10-6510-FBB15BB6F6AD}"/>
                </a:ext>
              </a:extLst>
            </p:cNvPr>
            <p:cNvSpPr>
              <a:spLocks noChangeArrowheads="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1" name="Freeform 15">
              <a:extLst>
                <a:ext uri="{FF2B5EF4-FFF2-40B4-BE49-F238E27FC236}">
                  <a16:creationId xmlns:a16="http://schemas.microsoft.com/office/drawing/2014/main" id="{485E328D-5058-4023-75AE-4DF8C1BAEBCA}"/>
                </a:ext>
              </a:extLst>
            </p:cNvPr>
            <p:cNvSpPr>
              <a:spLocks noEditPoints="1"/>
            </p:cNvSpPr>
            <p:nvPr userDrawn="1"/>
          </p:nvSpPr>
          <p:spPr bwMode="auto">
            <a:xfrm>
              <a:off x="518" y="3962"/>
              <a:ext cx="189" cy="72"/>
            </a:xfrm>
            <a:custGeom>
              <a:avLst/>
              <a:gdLst>
                <a:gd name="T0" fmla="*/ 498 w 498"/>
                <a:gd name="T1" fmla="*/ 96 h 190"/>
                <a:gd name="T2" fmla="*/ 415 w 498"/>
                <a:gd name="T3" fmla="*/ 0 h 190"/>
                <a:gd name="T4" fmla="*/ 350 w 498"/>
                <a:gd name="T5" fmla="*/ 13 h 190"/>
                <a:gd name="T6" fmla="*/ 348 w 498"/>
                <a:gd name="T7" fmla="*/ 37 h 190"/>
                <a:gd name="T8" fmla="*/ 413 w 498"/>
                <a:gd name="T9" fmla="*/ 21 h 190"/>
                <a:gd name="T10" fmla="*/ 463 w 498"/>
                <a:gd name="T11" fmla="*/ 43 h 190"/>
                <a:gd name="T12" fmla="*/ 335 w 498"/>
                <a:gd name="T13" fmla="*/ 141 h 190"/>
                <a:gd name="T14" fmla="*/ 252 w 498"/>
                <a:gd name="T15" fmla="*/ 169 h 190"/>
                <a:gd name="T16" fmla="*/ 199 w 498"/>
                <a:gd name="T17" fmla="*/ 147 h 190"/>
                <a:gd name="T18" fmla="*/ 320 w 498"/>
                <a:gd name="T19" fmla="*/ 34 h 190"/>
                <a:gd name="T20" fmla="*/ 251 w 498"/>
                <a:gd name="T21" fmla="*/ 0 h 190"/>
                <a:gd name="T22" fmla="*/ 188 w 498"/>
                <a:gd name="T23" fmla="*/ 24 h 190"/>
                <a:gd name="T24" fmla="*/ 165 w 498"/>
                <a:gd name="T25" fmla="*/ 98 h 190"/>
                <a:gd name="T26" fmla="*/ 173 w 498"/>
                <a:gd name="T27" fmla="*/ 140 h 190"/>
                <a:gd name="T28" fmla="*/ 85 w 498"/>
                <a:gd name="T29" fmla="*/ 169 h 190"/>
                <a:gd name="T30" fmla="*/ 19 w 498"/>
                <a:gd name="T31" fmla="*/ 95 h 190"/>
                <a:gd name="T32" fmla="*/ 85 w 498"/>
                <a:gd name="T33" fmla="*/ 21 h 190"/>
                <a:gd name="T34" fmla="*/ 150 w 498"/>
                <a:gd name="T35" fmla="*/ 37 h 190"/>
                <a:gd name="T36" fmla="*/ 148 w 498"/>
                <a:gd name="T37" fmla="*/ 13 h 190"/>
                <a:gd name="T38" fmla="*/ 87 w 498"/>
                <a:gd name="T39" fmla="*/ 0 h 190"/>
                <a:gd name="T40" fmla="*/ 0 w 498"/>
                <a:gd name="T41" fmla="*/ 95 h 190"/>
                <a:gd name="T42" fmla="*/ 86 w 498"/>
                <a:gd name="T43" fmla="*/ 190 h 190"/>
                <a:gd name="T44" fmla="*/ 182 w 498"/>
                <a:gd name="T45" fmla="*/ 159 h 190"/>
                <a:gd name="T46" fmla="*/ 251 w 498"/>
                <a:gd name="T47" fmla="*/ 190 h 190"/>
                <a:gd name="T48" fmla="*/ 338 w 498"/>
                <a:gd name="T49" fmla="*/ 164 h 190"/>
                <a:gd name="T50" fmla="*/ 411 w 498"/>
                <a:gd name="T51" fmla="*/ 190 h 190"/>
                <a:gd name="T52" fmla="*/ 477 w 498"/>
                <a:gd name="T53" fmla="*/ 163 h 190"/>
                <a:gd name="T54" fmla="*/ 478 w 498"/>
                <a:gd name="T55" fmla="*/ 185 h 190"/>
                <a:gd name="T56" fmla="*/ 498 w 498"/>
                <a:gd name="T57" fmla="*/ 189 h 190"/>
                <a:gd name="T58" fmla="*/ 498 w 498"/>
                <a:gd name="T59" fmla="*/ 96 h 190"/>
                <a:gd name="T60" fmla="*/ 184 w 498"/>
                <a:gd name="T61" fmla="*/ 107 h 190"/>
                <a:gd name="T62" fmla="*/ 201 w 498"/>
                <a:gd name="T63" fmla="*/ 39 h 190"/>
                <a:gd name="T64" fmla="*/ 251 w 498"/>
                <a:gd name="T65" fmla="*/ 19 h 190"/>
                <a:gd name="T66" fmla="*/ 297 w 498"/>
                <a:gd name="T67" fmla="*/ 37 h 190"/>
                <a:gd name="T68" fmla="*/ 261 w 498"/>
                <a:gd name="T69" fmla="*/ 78 h 190"/>
                <a:gd name="T70" fmla="*/ 190 w 498"/>
                <a:gd name="T71" fmla="*/ 128 h 190"/>
                <a:gd name="T72" fmla="*/ 184 w 498"/>
                <a:gd name="T73" fmla="*/ 107 h 190"/>
                <a:gd name="T74" fmla="*/ 462 w 498"/>
                <a:gd name="T75" fmla="*/ 151 h 190"/>
                <a:gd name="T76" fmla="*/ 411 w 498"/>
                <a:gd name="T77" fmla="*/ 170 h 190"/>
                <a:gd name="T78" fmla="*/ 356 w 498"/>
                <a:gd name="T79" fmla="*/ 151 h 190"/>
                <a:gd name="T80" fmla="*/ 472 w 498"/>
                <a:gd name="T81" fmla="*/ 60 h 190"/>
                <a:gd name="T82" fmla="*/ 479 w 498"/>
                <a:gd name="T83" fmla="*/ 83 h 190"/>
                <a:gd name="T84" fmla="*/ 462 w 498"/>
                <a:gd name="T85"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190">
                  <a:moveTo>
                    <a:pt x="498" y="96"/>
                  </a:moveTo>
                  <a:cubicBezTo>
                    <a:pt x="498" y="6"/>
                    <a:pt x="430" y="0"/>
                    <a:pt x="415" y="0"/>
                  </a:cubicBezTo>
                  <a:cubicBezTo>
                    <a:pt x="393" y="0"/>
                    <a:pt x="372" y="4"/>
                    <a:pt x="350" y="13"/>
                  </a:cubicBezTo>
                  <a:cubicBezTo>
                    <a:pt x="348" y="37"/>
                    <a:pt x="348" y="37"/>
                    <a:pt x="348" y="37"/>
                  </a:cubicBezTo>
                  <a:cubicBezTo>
                    <a:pt x="357" y="33"/>
                    <a:pt x="385" y="21"/>
                    <a:pt x="413" y="21"/>
                  </a:cubicBezTo>
                  <a:cubicBezTo>
                    <a:pt x="435" y="21"/>
                    <a:pt x="452" y="28"/>
                    <a:pt x="463" y="43"/>
                  </a:cubicBezTo>
                  <a:cubicBezTo>
                    <a:pt x="387" y="82"/>
                    <a:pt x="342" y="114"/>
                    <a:pt x="335" y="141"/>
                  </a:cubicBezTo>
                  <a:cubicBezTo>
                    <a:pt x="316" y="154"/>
                    <a:pt x="282" y="169"/>
                    <a:pt x="252" y="169"/>
                  </a:cubicBezTo>
                  <a:cubicBezTo>
                    <a:pt x="219" y="169"/>
                    <a:pt x="205" y="155"/>
                    <a:pt x="199" y="147"/>
                  </a:cubicBezTo>
                  <a:cubicBezTo>
                    <a:pt x="282" y="91"/>
                    <a:pt x="325" y="59"/>
                    <a:pt x="320" y="34"/>
                  </a:cubicBezTo>
                  <a:cubicBezTo>
                    <a:pt x="315" y="11"/>
                    <a:pt x="281" y="0"/>
                    <a:pt x="251" y="0"/>
                  </a:cubicBezTo>
                  <a:cubicBezTo>
                    <a:pt x="219" y="0"/>
                    <a:pt x="198" y="13"/>
                    <a:pt x="188" y="24"/>
                  </a:cubicBezTo>
                  <a:cubicBezTo>
                    <a:pt x="172" y="41"/>
                    <a:pt x="164" y="66"/>
                    <a:pt x="165" y="98"/>
                  </a:cubicBezTo>
                  <a:cubicBezTo>
                    <a:pt x="165" y="112"/>
                    <a:pt x="168" y="127"/>
                    <a:pt x="173" y="140"/>
                  </a:cubicBezTo>
                  <a:cubicBezTo>
                    <a:pt x="160" y="148"/>
                    <a:pt x="125" y="169"/>
                    <a:pt x="85" y="169"/>
                  </a:cubicBezTo>
                  <a:cubicBezTo>
                    <a:pt x="38" y="169"/>
                    <a:pt x="19" y="132"/>
                    <a:pt x="19" y="95"/>
                  </a:cubicBezTo>
                  <a:cubicBezTo>
                    <a:pt x="19" y="59"/>
                    <a:pt x="37" y="21"/>
                    <a:pt x="85" y="21"/>
                  </a:cubicBezTo>
                  <a:cubicBezTo>
                    <a:pt x="113" y="21"/>
                    <a:pt x="140" y="32"/>
                    <a:pt x="150" y="37"/>
                  </a:cubicBezTo>
                  <a:cubicBezTo>
                    <a:pt x="148" y="13"/>
                    <a:pt x="148" y="13"/>
                    <a:pt x="148" y="13"/>
                  </a:cubicBezTo>
                  <a:cubicBezTo>
                    <a:pt x="130" y="6"/>
                    <a:pt x="107" y="0"/>
                    <a:pt x="87" y="0"/>
                  </a:cubicBezTo>
                  <a:cubicBezTo>
                    <a:pt x="7" y="0"/>
                    <a:pt x="0" y="67"/>
                    <a:pt x="0" y="95"/>
                  </a:cubicBezTo>
                  <a:cubicBezTo>
                    <a:pt x="0" y="122"/>
                    <a:pt x="7" y="190"/>
                    <a:pt x="86" y="190"/>
                  </a:cubicBezTo>
                  <a:cubicBezTo>
                    <a:pt x="134" y="190"/>
                    <a:pt x="175" y="164"/>
                    <a:pt x="182" y="159"/>
                  </a:cubicBezTo>
                  <a:cubicBezTo>
                    <a:pt x="187" y="168"/>
                    <a:pt x="208" y="190"/>
                    <a:pt x="251" y="190"/>
                  </a:cubicBezTo>
                  <a:cubicBezTo>
                    <a:pt x="286" y="190"/>
                    <a:pt x="325" y="173"/>
                    <a:pt x="338" y="164"/>
                  </a:cubicBezTo>
                  <a:cubicBezTo>
                    <a:pt x="346" y="175"/>
                    <a:pt x="362" y="190"/>
                    <a:pt x="411" y="190"/>
                  </a:cubicBezTo>
                  <a:cubicBezTo>
                    <a:pt x="444" y="190"/>
                    <a:pt x="464" y="179"/>
                    <a:pt x="477" y="163"/>
                  </a:cubicBezTo>
                  <a:cubicBezTo>
                    <a:pt x="477" y="171"/>
                    <a:pt x="478" y="179"/>
                    <a:pt x="478" y="185"/>
                  </a:cubicBezTo>
                  <a:cubicBezTo>
                    <a:pt x="498" y="189"/>
                    <a:pt x="498" y="189"/>
                    <a:pt x="498" y="189"/>
                  </a:cubicBezTo>
                  <a:cubicBezTo>
                    <a:pt x="497" y="168"/>
                    <a:pt x="498" y="97"/>
                    <a:pt x="498" y="96"/>
                  </a:cubicBezTo>
                  <a:moveTo>
                    <a:pt x="184" y="107"/>
                  </a:moveTo>
                  <a:cubicBezTo>
                    <a:pt x="184" y="107"/>
                    <a:pt x="178" y="65"/>
                    <a:pt x="201" y="39"/>
                  </a:cubicBezTo>
                  <a:cubicBezTo>
                    <a:pt x="212" y="26"/>
                    <a:pt x="229" y="19"/>
                    <a:pt x="251" y="19"/>
                  </a:cubicBezTo>
                  <a:cubicBezTo>
                    <a:pt x="275" y="19"/>
                    <a:pt x="295" y="28"/>
                    <a:pt x="297" y="37"/>
                  </a:cubicBezTo>
                  <a:cubicBezTo>
                    <a:pt x="299" y="44"/>
                    <a:pt x="292" y="53"/>
                    <a:pt x="261" y="78"/>
                  </a:cubicBezTo>
                  <a:cubicBezTo>
                    <a:pt x="261" y="78"/>
                    <a:pt x="230" y="105"/>
                    <a:pt x="190" y="128"/>
                  </a:cubicBezTo>
                  <a:cubicBezTo>
                    <a:pt x="187" y="122"/>
                    <a:pt x="185" y="115"/>
                    <a:pt x="184" y="107"/>
                  </a:cubicBezTo>
                  <a:moveTo>
                    <a:pt x="462" y="151"/>
                  </a:moveTo>
                  <a:cubicBezTo>
                    <a:pt x="450" y="164"/>
                    <a:pt x="433" y="170"/>
                    <a:pt x="411" y="170"/>
                  </a:cubicBezTo>
                  <a:cubicBezTo>
                    <a:pt x="361" y="170"/>
                    <a:pt x="356" y="151"/>
                    <a:pt x="356" y="151"/>
                  </a:cubicBezTo>
                  <a:cubicBezTo>
                    <a:pt x="350" y="140"/>
                    <a:pt x="367" y="116"/>
                    <a:pt x="472" y="60"/>
                  </a:cubicBezTo>
                  <a:cubicBezTo>
                    <a:pt x="475" y="67"/>
                    <a:pt x="477" y="75"/>
                    <a:pt x="479" y="83"/>
                  </a:cubicBezTo>
                  <a:cubicBezTo>
                    <a:pt x="479" y="83"/>
                    <a:pt x="484" y="125"/>
                    <a:pt x="462" y="15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2" name="Rectangle 16">
              <a:extLst>
                <a:ext uri="{FF2B5EF4-FFF2-40B4-BE49-F238E27FC236}">
                  <a16:creationId xmlns:a16="http://schemas.microsoft.com/office/drawing/2014/main" id="{B32124BB-315A-4642-3185-D0F09F05E9F3}"/>
                </a:ext>
              </a:extLst>
            </p:cNvPr>
            <p:cNvSpPr>
              <a:spLocks noChangeArrowheads="1"/>
            </p:cNvSpPr>
            <p:nvPr userDrawn="1"/>
          </p:nvSpPr>
          <p:spPr bwMode="auto">
            <a:xfrm>
              <a:off x="526" y="4057"/>
              <a:ext cx="174"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23" name="Rectangle 17">
              <a:extLst>
                <a:ext uri="{FF2B5EF4-FFF2-40B4-BE49-F238E27FC236}">
                  <a16:creationId xmlns:a16="http://schemas.microsoft.com/office/drawing/2014/main" id="{283D2C2C-F437-0747-2745-E4E3B6D20760}"/>
                </a:ext>
              </a:extLst>
            </p:cNvPr>
            <p:cNvSpPr>
              <a:spLocks noChangeArrowheads="1"/>
            </p:cNvSpPr>
            <p:nvPr userDrawn="1"/>
          </p:nvSpPr>
          <p:spPr bwMode="auto">
            <a:xfrm>
              <a:off x="526" y="4057"/>
              <a:ext cx="174" cy="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
        <p:nvSpPr>
          <p:cNvPr id="24" name="Espace réservé du titre 1">
            <a:extLst>
              <a:ext uri="{FF2B5EF4-FFF2-40B4-BE49-F238E27FC236}">
                <a16:creationId xmlns:a16="http://schemas.microsoft.com/office/drawing/2014/main" id="{1502D9F9-80C2-D30F-8D8B-9F5A494EF69D}"/>
              </a:ext>
            </a:extLst>
          </p:cNvPr>
          <p:cNvSpPr>
            <a:spLocks noGrp="1"/>
          </p:cNvSpPr>
          <p:nvPr>
            <p:ph type="title"/>
          </p:nvPr>
        </p:nvSpPr>
        <p:spPr>
          <a:xfrm>
            <a:off x="548879" y="235528"/>
            <a:ext cx="8046244" cy="653870"/>
          </a:xfrm>
          <a:prstGeom prst="rect">
            <a:avLst/>
          </a:prstGeom>
        </p:spPr>
        <p:txBody>
          <a:bodyPr vert="horz" lIns="0" tIns="45720" rIns="91440" bIns="45720" rtlCol="0" anchor="t">
            <a:normAutofit/>
          </a:bodyPr>
          <a:lstStyle>
            <a:lvl1pPr>
              <a:defRPr>
                <a:solidFill>
                  <a:schemeClr val="bg1"/>
                </a:solidFill>
              </a:defRPr>
            </a:lvl1pPr>
          </a:lstStyle>
          <a:p>
            <a:r>
              <a:rPr lang="fr-FR"/>
              <a:t>Modifiez le style du titre</a:t>
            </a:r>
            <a:endParaRPr lang="fr-FR" dirty="0"/>
          </a:p>
        </p:txBody>
      </p:sp>
      <p:pic>
        <p:nvPicPr>
          <p:cNvPr id="12" name="Image 11">
            <a:extLst>
              <a:ext uri="{FF2B5EF4-FFF2-40B4-BE49-F238E27FC236}">
                <a16:creationId xmlns:a16="http://schemas.microsoft.com/office/drawing/2014/main" id="{B717F4D1-D2E3-F44D-BEED-84560474205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666" r="82853" b="2802"/>
          <a:stretch/>
        </p:blipFill>
        <p:spPr>
          <a:xfrm>
            <a:off x="8735958" y="-1"/>
            <a:ext cx="408042" cy="5143501"/>
          </a:xfrm>
          <a:prstGeom prst="rect">
            <a:avLst/>
          </a:prstGeom>
        </p:spPr>
      </p:pic>
      <p:sp>
        <p:nvSpPr>
          <p:cNvPr id="14" name="Espace réservé de la date 13">
            <a:extLst>
              <a:ext uri="{FF2B5EF4-FFF2-40B4-BE49-F238E27FC236}">
                <a16:creationId xmlns:a16="http://schemas.microsoft.com/office/drawing/2014/main" id="{914C3EDF-84FF-56C5-6EEE-62348DC5ADF3}"/>
              </a:ext>
            </a:extLst>
          </p:cNvPr>
          <p:cNvSpPr>
            <a:spLocks noGrp="1"/>
          </p:cNvSpPr>
          <p:nvPr>
            <p:ph type="dt" sz="half" idx="10"/>
          </p:nvPr>
        </p:nvSpPr>
        <p:spPr/>
        <p:txBody>
          <a:bodyPr/>
          <a:lstStyle>
            <a:lvl1pPr>
              <a:defRPr>
                <a:solidFill>
                  <a:schemeClr val="bg1"/>
                </a:solidFill>
              </a:defRPr>
            </a:lvl1pPr>
          </a:lstStyle>
          <a:p>
            <a:r>
              <a:rPr lang="fr-FR"/>
              <a:t>28/10/2022</a:t>
            </a:r>
            <a:endParaRPr lang="fr-FR" dirty="0"/>
          </a:p>
        </p:txBody>
      </p:sp>
      <p:sp>
        <p:nvSpPr>
          <p:cNvPr id="25" name="Espace réservé du numéro de diapositive 24">
            <a:extLst>
              <a:ext uri="{FF2B5EF4-FFF2-40B4-BE49-F238E27FC236}">
                <a16:creationId xmlns:a16="http://schemas.microsoft.com/office/drawing/2014/main" id="{E0039A2A-B2A3-3003-AC28-98B9483723BF}"/>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dirty="0"/>
          </a:p>
        </p:txBody>
      </p:sp>
      <p:sp>
        <p:nvSpPr>
          <p:cNvPr id="27"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bg1"/>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40336929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37ACB4-EFEF-4B9C-B3B8-8EF287C9C59F}"/>
              </a:ext>
            </a:extLst>
          </p:cNvPr>
          <p:cNvSpPr>
            <a:spLocks noGrp="1"/>
          </p:cNvSpPr>
          <p:nvPr>
            <p:ph type="title" hasCustomPrompt="1"/>
          </p:nvPr>
        </p:nvSpPr>
        <p:spPr>
          <a:xfrm>
            <a:off x="270000" y="57610"/>
            <a:ext cx="8217966" cy="847800"/>
          </a:xfrm>
          <a:prstGeom prst="rect">
            <a:avLst/>
          </a:prstGeom>
        </p:spPr>
        <p:txBody>
          <a:bodyPr/>
          <a:lstStyle>
            <a:lvl1pPr>
              <a:defRPr/>
            </a:lvl1pPr>
          </a:lstStyle>
          <a:p>
            <a:r>
              <a:rPr lang="en-GB" noProof="0" dirty="0"/>
              <a:t>Click to edit title style</a:t>
            </a:r>
          </a:p>
        </p:txBody>
      </p:sp>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10" name="Tijdelijke aanduiding voor dianummer 5">
            <a:extLst>
              <a:ext uri="{FF2B5EF4-FFF2-40B4-BE49-F238E27FC236}">
                <a16:creationId xmlns:a16="http://schemas.microsoft.com/office/drawing/2014/main" id="{90EC1D06-D0D6-43A4-9CEF-30FB79B34C49}"/>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57754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6" name="Tijdelijke aanduiding voor datum 3">
            <a:extLst>
              <a:ext uri="{FF2B5EF4-FFF2-40B4-BE49-F238E27FC236}">
                <a16:creationId xmlns:a16="http://schemas.microsoft.com/office/drawing/2014/main" id="{F09CF8D3-9DF8-4E6C-84EB-B613F779B5F6}"/>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7" name="Tijdelijke aanduiding voor voettekst 4">
            <a:extLst>
              <a:ext uri="{FF2B5EF4-FFF2-40B4-BE49-F238E27FC236}">
                <a16:creationId xmlns:a16="http://schemas.microsoft.com/office/drawing/2014/main" id="{B0A235F7-B785-4FB8-9057-16D0AEF5AB23}"/>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3" name="Rechthoek 2">
            <a:extLst>
              <a:ext uri="{FF2B5EF4-FFF2-40B4-BE49-F238E27FC236}">
                <a16:creationId xmlns:a16="http://schemas.microsoft.com/office/drawing/2014/main" id="{73A49957-3299-4F03-B241-99EC4585C3DA}"/>
              </a:ext>
            </a:extLst>
          </p:cNvPr>
          <p:cNvSpPr/>
          <p:nvPr userDrawn="1"/>
        </p:nvSpPr>
        <p:spPr bwMode="white">
          <a:xfrm>
            <a:off x="0" y="964407"/>
            <a:ext cx="3764756" cy="64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8" name="Tijdelijke aanduiding voor dianummer 5">
            <a:extLst>
              <a:ext uri="{FF2B5EF4-FFF2-40B4-BE49-F238E27FC236}">
                <a16:creationId xmlns:a16="http://schemas.microsoft.com/office/drawing/2014/main" id="{485BF142-D638-4EBB-AB36-3469E8988352}"/>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327144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270000" y="57610"/>
            <a:ext cx="4302000" cy="847800"/>
          </a:xfrm>
          <a:prstGeom prst="rect">
            <a:avLst/>
          </a:prstGeom>
        </p:spPr>
        <p:txBody>
          <a:bodyPr vert="horz" lIns="68580" tIns="34290" rIns="68580" bIns="3429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025"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873371" y="1328877"/>
            <a:ext cx="2500313" cy="153591"/>
          </a:xfrm>
        </p:spPr>
        <p:txBody>
          <a:bodyPr>
            <a:noAutofit/>
          </a:bodyPr>
          <a:lstStyle>
            <a:lvl1pPr>
              <a:defRPr sz="1200" b="1"/>
            </a:lvl1pPr>
          </a:lstStyle>
          <a:p>
            <a:pPr lvl="0"/>
            <a:r>
              <a:rPr lang="en-GB" noProof="0" dirty="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873371" y="1533644"/>
            <a:ext cx="2500313" cy="153591"/>
          </a:xfrm>
        </p:spPr>
        <p:txBody>
          <a:bodyPr>
            <a:noAutofit/>
          </a:bodyPr>
          <a:lstStyle>
            <a:lvl1pPr>
              <a:defRPr sz="12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873371" y="1738308"/>
            <a:ext cx="2500313" cy="153591"/>
          </a:xfrm>
        </p:spPr>
        <p:txBody>
          <a:bodyPr>
            <a:noAutofit/>
          </a:bodyPr>
          <a:lstStyle>
            <a:lvl1pPr>
              <a:defRPr sz="12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873371" y="1942973"/>
            <a:ext cx="2500313" cy="153591"/>
          </a:xfrm>
        </p:spPr>
        <p:txBody>
          <a:bodyPr>
            <a:noAutofit/>
          </a:bodyPr>
          <a:lstStyle>
            <a:lvl1pPr>
              <a:defRPr sz="12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877695" y="2208334"/>
            <a:ext cx="250031" cy="250031"/>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239333" y="2208334"/>
            <a:ext cx="250031" cy="250031"/>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873371" y="2704039"/>
            <a:ext cx="2396105" cy="646331"/>
          </a:xfrm>
          <a:prstGeom prst="rect">
            <a:avLst/>
          </a:prstGeom>
          <a:noFill/>
        </p:spPr>
        <p:txBody>
          <a:bodyPr wrap="none" lIns="0" rtlCol="0">
            <a:spAutoFit/>
          </a:bodyPr>
          <a:lstStyle/>
          <a:p>
            <a:r>
              <a:rPr lang="en-GB" sz="1200" b="1" noProof="0" dirty="0">
                <a:solidFill>
                  <a:schemeClr val="tx1"/>
                </a:solidFill>
              </a:rPr>
              <a:t>DIFFER</a:t>
            </a:r>
            <a:r>
              <a:rPr lang="en-GB" sz="1200" noProof="0" dirty="0">
                <a:solidFill>
                  <a:schemeClr val="tx1"/>
                </a:solidFill>
              </a:rPr>
              <a:t> </a:t>
            </a:r>
            <a:br>
              <a:rPr lang="en-GB" sz="1200" noProof="0" dirty="0">
                <a:solidFill>
                  <a:schemeClr val="tx1"/>
                </a:solidFill>
              </a:rPr>
            </a:br>
            <a:r>
              <a:rPr lang="en-GB" sz="1200" noProof="0" dirty="0">
                <a:solidFill>
                  <a:schemeClr val="tx1"/>
                </a:solidFill>
              </a:rPr>
              <a:t>Eindhoven, The Netherlands</a:t>
            </a:r>
            <a:br>
              <a:rPr lang="en-GB" sz="1200" noProof="0" dirty="0">
                <a:solidFill>
                  <a:schemeClr val="tx1"/>
                </a:solidFill>
              </a:rPr>
            </a:br>
            <a:r>
              <a:rPr lang="en-GB" sz="1200" noProof="0" dirty="0" err="1">
                <a:solidFill>
                  <a:schemeClr val="tx1"/>
                </a:solidFill>
              </a:rPr>
              <a:t>info@differ.nl</a:t>
            </a:r>
            <a:r>
              <a:rPr lang="en-GB" sz="1200" noProof="0" dirty="0">
                <a:solidFill>
                  <a:schemeClr val="tx1"/>
                </a:solidFill>
              </a:rPr>
              <a:t>   |   </a:t>
            </a:r>
            <a:r>
              <a:rPr lang="en-GB" sz="1200" noProof="0" dirty="0" err="1">
                <a:solidFill>
                  <a:schemeClr val="tx1"/>
                </a:solidFill>
              </a:rPr>
              <a:t>www.differ.nl</a:t>
            </a:r>
            <a:r>
              <a:rPr lang="en-GB" sz="12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3521356" y="1328286"/>
            <a:ext cx="932259" cy="932259"/>
          </a:xfrm>
          <a:prstGeom prst="ellipse">
            <a:avLst/>
          </a:prstGeom>
          <a:noFill/>
        </p:spPr>
        <p:txBody>
          <a:bodyPr bIns="612000" anchor="ctr">
            <a:noAutofit/>
          </a:bodyPr>
          <a:lstStyle>
            <a:lvl1pPr algn="ctr">
              <a:defRPr sz="75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111614" y="2202351"/>
            <a:ext cx="1803699" cy="738664"/>
          </a:xfrm>
          <a:prstGeom prst="rect">
            <a:avLst/>
          </a:prstGeom>
          <a:noFill/>
        </p:spPr>
        <p:txBody>
          <a:bodyPr wrap="none" rtlCol="0">
            <a:spAutoFit/>
          </a:bodyPr>
          <a:lstStyle/>
          <a:p>
            <a:pPr algn="r"/>
            <a:r>
              <a:rPr lang="nl-NL" sz="1050" b="1" dirty="0">
                <a:solidFill>
                  <a:schemeClr val="bg2"/>
                </a:solidFill>
              </a:rPr>
              <a:t>No LinkedIn</a:t>
            </a:r>
            <a:br>
              <a:rPr lang="nl-NL" sz="1050" b="1" dirty="0">
                <a:solidFill>
                  <a:schemeClr val="bg2"/>
                </a:solidFill>
              </a:rPr>
            </a:br>
            <a:r>
              <a:rPr lang="nl-NL" sz="1050" b="1" dirty="0" err="1">
                <a:solidFill>
                  <a:schemeClr val="bg2"/>
                </a:solidFill>
              </a:rPr>
              <a:t>and</a:t>
            </a:r>
            <a:r>
              <a:rPr lang="nl-NL" sz="1050" b="1" dirty="0">
                <a:solidFill>
                  <a:schemeClr val="bg2"/>
                </a:solidFill>
              </a:rPr>
              <a:t>/or Twitter account?</a:t>
            </a:r>
          </a:p>
          <a:p>
            <a:pPr algn="r"/>
            <a:r>
              <a:rPr lang="nl-NL" sz="1050" dirty="0">
                <a:solidFill>
                  <a:schemeClr val="bg2"/>
                </a:solidFill>
              </a:rPr>
              <a:t>Just select the icon </a:t>
            </a:r>
            <a:r>
              <a:rPr lang="nl-NL" sz="1050" dirty="0" err="1">
                <a:solidFill>
                  <a:schemeClr val="bg2"/>
                </a:solidFill>
              </a:rPr>
              <a:t>and</a:t>
            </a:r>
            <a:br>
              <a:rPr lang="nl-NL" sz="1050" dirty="0">
                <a:solidFill>
                  <a:schemeClr val="bg2"/>
                </a:solidFill>
              </a:rPr>
            </a:br>
            <a:r>
              <a:rPr lang="nl-NL" sz="105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257373" y="2277878"/>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jdelijke aanduiding voor datum 3">
            <a:extLst>
              <a:ext uri="{FF2B5EF4-FFF2-40B4-BE49-F238E27FC236}">
                <a16:creationId xmlns:a16="http://schemas.microsoft.com/office/drawing/2014/main" id="{CE6A7AFC-0BFF-4326-92F2-FBD304D78617}"/>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22" name="Tijdelijke aanduiding voor voettekst 4">
            <a:extLst>
              <a:ext uri="{FF2B5EF4-FFF2-40B4-BE49-F238E27FC236}">
                <a16:creationId xmlns:a16="http://schemas.microsoft.com/office/drawing/2014/main" id="{ADC7F66D-F36F-492D-A05F-5609FEEA07CC}"/>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25" name="Tijdelijke aanduiding voor dianummer 5">
            <a:extLst>
              <a:ext uri="{FF2B5EF4-FFF2-40B4-BE49-F238E27FC236}">
                <a16:creationId xmlns:a16="http://schemas.microsoft.com/office/drawing/2014/main" id="{A6643CE8-9E95-432D-AD84-B698824098FC}"/>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37117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act slide - double team">
    <p:spTree>
      <p:nvGrpSpPr>
        <p:cNvPr id="1" name=""/>
        <p:cNvGrpSpPr/>
        <p:nvPr/>
      </p:nvGrpSpPr>
      <p:grpSpPr>
        <a:xfrm>
          <a:off x="0" y="0"/>
          <a:ext cx="0" cy="0"/>
          <a:chOff x="0" y="0"/>
          <a:chExt cx="0" cy="0"/>
        </a:xfrm>
      </p:grpSpPr>
      <p:sp>
        <p:nvSpPr>
          <p:cNvPr id="7" name="Tekstvak 6">
            <a:extLst>
              <a:ext uri="{FF2B5EF4-FFF2-40B4-BE49-F238E27FC236}">
                <a16:creationId xmlns:a16="http://schemas.microsoft.com/office/drawing/2014/main" id="{78E4DE6E-9449-41AE-952D-686BA328C49E}"/>
              </a:ext>
            </a:extLst>
          </p:cNvPr>
          <p:cNvSpPr txBox="1"/>
          <p:nvPr userDrawn="1"/>
        </p:nvSpPr>
        <p:spPr>
          <a:xfrm>
            <a:off x="270000" y="57610"/>
            <a:ext cx="4302000" cy="847800"/>
          </a:xfrm>
          <a:prstGeom prst="rect">
            <a:avLst/>
          </a:prstGeom>
        </p:spPr>
        <p:txBody>
          <a:bodyPr vert="horz" lIns="68580" tIns="34290" rIns="68580" bIns="34290" rtlCol="0" anchor="b">
            <a:normAutofit/>
          </a:bodyPr>
          <a:lstStyle>
            <a:lvl1pPr>
              <a:lnSpc>
                <a:spcPct val="90000"/>
              </a:lnSpc>
              <a:spcBef>
                <a:spcPct val="0"/>
              </a:spcBef>
              <a:buNone/>
              <a:defRPr sz="3000" b="1">
                <a:solidFill>
                  <a:schemeClr val="tx2"/>
                </a:solidFill>
                <a:latin typeface="+mj-lt"/>
                <a:ea typeface="+mj-ea"/>
                <a:cs typeface="+mj-cs"/>
              </a:defRPr>
            </a:lvl1pPr>
          </a:lstStyle>
          <a:p>
            <a:pPr lvl="0"/>
            <a:r>
              <a:rPr lang="nl-NL" sz="2025" dirty="0">
                <a:solidFill>
                  <a:schemeClr val="tx2"/>
                </a:solidFill>
              </a:rPr>
              <a:t>Contact</a:t>
            </a:r>
          </a:p>
        </p:txBody>
      </p:sp>
      <p:sp>
        <p:nvSpPr>
          <p:cNvPr id="10" name="Tijdelijke aanduiding voor tekst 9">
            <a:extLst>
              <a:ext uri="{FF2B5EF4-FFF2-40B4-BE49-F238E27FC236}">
                <a16:creationId xmlns:a16="http://schemas.microsoft.com/office/drawing/2014/main" id="{01384729-1BED-47BF-AF7D-AD8987DED5ED}"/>
              </a:ext>
            </a:extLst>
          </p:cNvPr>
          <p:cNvSpPr>
            <a:spLocks noGrp="1"/>
          </p:cNvSpPr>
          <p:nvPr>
            <p:ph type="body" sz="quarter" idx="14" hasCustomPrompt="1"/>
          </p:nvPr>
        </p:nvSpPr>
        <p:spPr>
          <a:xfrm>
            <a:off x="873371" y="1328877"/>
            <a:ext cx="2500313" cy="153591"/>
          </a:xfrm>
        </p:spPr>
        <p:txBody>
          <a:bodyPr>
            <a:noAutofit/>
          </a:bodyPr>
          <a:lstStyle>
            <a:lvl1pPr>
              <a:defRPr sz="1200" b="1"/>
            </a:lvl1pPr>
          </a:lstStyle>
          <a:p>
            <a:pPr lvl="0"/>
            <a:r>
              <a:rPr lang="en-GB" noProof="0"/>
              <a:t>Name</a:t>
            </a:r>
          </a:p>
        </p:txBody>
      </p:sp>
      <p:sp>
        <p:nvSpPr>
          <p:cNvPr id="11" name="Tijdelijke aanduiding voor tekst 9">
            <a:extLst>
              <a:ext uri="{FF2B5EF4-FFF2-40B4-BE49-F238E27FC236}">
                <a16:creationId xmlns:a16="http://schemas.microsoft.com/office/drawing/2014/main" id="{776F4613-38AE-49BF-9B9B-E10EBC79FFC2}"/>
              </a:ext>
            </a:extLst>
          </p:cNvPr>
          <p:cNvSpPr>
            <a:spLocks noGrp="1"/>
          </p:cNvSpPr>
          <p:nvPr>
            <p:ph type="body" sz="quarter" idx="15" hasCustomPrompt="1"/>
          </p:nvPr>
        </p:nvSpPr>
        <p:spPr>
          <a:xfrm>
            <a:off x="873371" y="1533644"/>
            <a:ext cx="2500313" cy="153591"/>
          </a:xfrm>
        </p:spPr>
        <p:txBody>
          <a:bodyPr>
            <a:noAutofit/>
          </a:bodyPr>
          <a:lstStyle>
            <a:lvl1pPr>
              <a:defRPr sz="1200" b="0"/>
            </a:lvl1pPr>
          </a:lstStyle>
          <a:p>
            <a:pPr lvl="0"/>
            <a:r>
              <a:rPr lang="en-GB" noProof="0" dirty="0"/>
              <a:t>Position/title</a:t>
            </a:r>
          </a:p>
        </p:txBody>
      </p:sp>
      <p:sp>
        <p:nvSpPr>
          <p:cNvPr id="12" name="Tijdelijke aanduiding voor tekst 9">
            <a:extLst>
              <a:ext uri="{FF2B5EF4-FFF2-40B4-BE49-F238E27FC236}">
                <a16:creationId xmlns:a16="http://schemas.microsoft.com/office/drawing/2014/main" id="{E7B90223-530A-4AD1-8ED6-253465155A33}"/>
              </a:ext>
            </a:extLst>
          </p:cNvPr>
          <p:cNvSpPr>
            <a:spLocks noGrp="1"/>
          </p:cNvSpPr>
          <p:nvPr>
            <p:ph type="body" sz="quarter" idx="16" hasCustomPrompt="1"/>
          </p:nvPr>
        </p:nvSpPr>
        <p:spPr>
          <a:xfrm>
            <a:off x="873371" y="1738308"/>
            <a:ext cx="2500313" cy="153591"/>
          </a:xfrm>
        </p:spPr>
        <p:txBody>
          <a:bodyPr>
            <a:noAutofit/>
          </a:bodyPr>
          <a:lstStyle>
            <a:lvl1pPr>
              <a:defRPr sz="1200" b="0"/>
            </a:lvl1pPr>
          </a:lstStyle>
          <a:p>
            <a:pPr lvl="0"/>
            <a:r>
              <a:rPr lang="en-GB" noProof="0"/>
              <a:t>Phone number</a:t>
            </a:r>
          </a:p>
        </p:txBody>
      </p:sp>
      <p:sp>
        <p:nvSpPr>
          <p:cNvPr id="13" name="Tijdelijke aanduiding voor tekst 9">
            <a:extLst>
              <a:ext uri="{FF2B5EF4-FFF2-40B4-BE49-F238E27FC236}">
                <a16:creationId xmlns:a16="http://schemas.microsoft.com/office/drawing/2014/main" id="{89610FB0-700D-4488-9A59-6E878A9CE89B}"/>
              </a:ext>
            </a:extLst>
          </p:cNvPr>
          <p:cNvSpPr>
            <a:spLocks noGrp="1"/>
          </p:cNvSpPr>
          <p:nvPr>
            <p:ph type="body" sz="quarter" idx="17" hasCustomPrompt="1"/>
          </p:nvPr>
        </p:nvSpPr>
        <p:spPr>
          <a:xfrm>
            <a:off x="873371" y="1942973"/>
            <a:ext cx="2500313" cy="153591"/>
          </a:xfrm>
        </p:spPr>
        <p:txBody>
          <a:bodyPr>
            <a:noAutofit/>
          </a:bodyPr>
          <a:lstStyle>
            <a:lvl1pPr>
              <a:defRPr sz="1200" b="0"/>
            </a:lvl1pPr>
          </a:lstStyle>
          <a:p>
            <a:pPr lvl="0"/>
            <a:r>
              <a:rPr lang="en-GB" noProof="0"/>
              <a:t>E-mail address</a:t>
            </a:r>
          </a:p>
        </p:txBody>
      </p:sp>
      <p:sp>
        <p:nvSpPr>
          <p:cNvPr id="15" name="Tijdelijke aanduiding voor afbeelding 14">
            <a:extLst>
              <a:ext uri="{FF2B5EF4-FFF2-40B4-BE49-F238E27FC236}">
                <a16:creationId xmlns:a16="http://schemas.microsoft.com/office/drawing/2014/main" id="{CD254B0F-B54E-453F-8C75-BA33B5874226}"/>
              </a:ext>
            </a:extLst>
          </p:cNvPr>
          <p:cNvSpPr>
            <a:spLocks noGrp="1"/>
          </p:cNvSpPr>
          <p:nvPr>
            <p:ph type="pic" sz="quarter" idx="18"/>
          </p:nvPr>
        </p:nvSpPr>
        <p:spPr>
          <a:xfrm>
            <a:off x="877695" y="2208334"/>
            <a:ext cx="250031" cy="250031"/>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6" name="Tijdelijke aanduiding voor afbeelding 14">
            <a:extLst>
              <a:ext uri="{FF2B5EF4-FFF2-40B4-BE49-F238E27FC236}">
                <a16:creationId xmlns:a16="http://schemas.microsoft.com/office/drawing/2014/main" id="{ACA9458E-1A07-4EF8-A596-9C13C54A77D6}"/>
              </a:ext>
            </a:extLst>
          </p:cNvPr>
          <p:cNvSpPr>
            <a:spLocks noGrp="1"/>
          </p:cNvSpPr>
          <p:nvPr>
            <p:ph type="pic" sz="quarter" idx="19"/>
          </p:nvPr>
        </p:nvSpPr>
        <p:spPr>
          <a:xfrm>
            <a:off x="1239333" y="2208334"/>
            <a:ext cx="250031" cy="250031"/>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17" name="Tekstvak 16">
            <a:extLst>
              <a:ext uri="{FF2B5EF4-FFF2-40B4-BE49-F238E27FC236}">
                <a16:creationId xmlns:a16="http://schemas.microsoft.com/office/drawing/2014/main" id="{EE6C7F07-3403-4EE0-A592-D3B3E8315F6A}"/>
              </a:ext>
            </a:extLst>
          </p:cNvPr>
          <p:cNvSpPr txBox="1"/>
          <p:nvPr userDrawn="1"/>
        </p:nvSpPr>
        <p:spPr>
          <a:xfrm>
            <a:off x="873371" y="2704039"/>
            <a:ext cx="2396105" cy="646331"/>
          </a:xfrm>
          <a:prstGeom prst="rect">
            <a:avLst/>
          </a:prstGeom>
          <a:noFill/>
        </p:spPr>
        <p:txBody>
          <a:bodyPr wrap="none" lIns="0" rtlCol="0">
            <a:spAutoFit/>
          </a:bodyPr>
          <a:lstStyle/>
          <a:p>
            <a:r>
              <a:rPr lang="en-GB" sz="1200" b="1" noProof="0" dirty="0">
                <a:solidFill>
                  <a:schemeClr val="tx1"/>
                </a:solidFill>
              </a:rPr>
              <a:t>DIFFER</a:t>
            </a:r>
            <a:r>
              <a:rPr lang="en-GB" sz="1200" noProof="0" dirty="0">
                <a:solidFill>
                  <a:schemeClr val="tx1"/>
                </a:solidFill>
              </a:rPr>
              <a:t> </a:t>
            </a:r>
            <a:br>
              <a:rPr lang="en-GB" sz="1200" noProof="0" dirty="0">
                <a:solidFill>
                  <a:schemeClr val="tx1"/>
                </a:solidFill>
              </a:rPr>
            </a:br>
            <a:r>
              <a:rPr lang="en-GB" sz="1200" noProof="0" dirty="0">
                <a:solidFill>
                  <a:schemeClr val="tx1"/>
                </a:solidFill>
              </a:rPr>
              <a:t>Eindhoven, The Netherlands</a:t>
            </a:r>
            <a:br>
              <a:rPr lang="en-GB" sz="1200" noProof="0" dirty="0">
                <a:solidFill>
                  <a:schemeClr val="tx1"/>
                </a:solidFill>
              </a:rPr>
            </a:br>
            <a:r>
              <a:rPr lang="en-GB" sz="1200" noProof="0" dirty="0" err="1">
                <a:solidFill>
                  <a:schemeClr val="tx1"/>
                </a:solidFill>
              </a:rPr>
              <a:t>info@differ.nl</a:t>
            </a:r>
            <a:r>
              <a:rPr lang="en-GB" sz="1200" noProof="0" dirty="0">
                <a:solidFill>
                  <a:schemeClr val="tx1"/>
                </a:solidFill>
              </a:rPr>
              <a:t>   |   </a:t>
            </a:r>
            <a:r>
              <a:rPr lang="en-GB" sz="1200" noProof="0" dirty="0" err="1">
                <a:solidFill>
                  <a:schemeClr val="tx1"/>
                </a:solidFill>
              </a:rPr>
              <a:t>www.differ.nl</a:t>
            </a:r>
            <a:r>
              <a:rPr lang="en-GB" sz="1200" noProof="0" dirty="0">
                <a:solidFill>
                  <a:schemeClr val="tx1"/>
                </a:solidFill>
              </a:rPr>
              <a:t> </a:t>
            </a:r>
          </a:p>
        </p:txBody>
      </p:sp>
      <p:sp>
        <p:nvSpPr>
          <p:cNvPr id="19" name="Tijdelijke aanduiding voor afbeelding 18">
            <a:extLst>
              <a:ext uri="{FF2B5EF4-FFF2-40B4-BE49-F238E27FC236}">
                <a16:creationId xmlns:a16="http://schemas.microsoft.com/office/drawing/2014/main" id="{5D66D3FE-BFC2-43D3-989D-D0BAB3FBA2D9}"/>
              </a:ext>
            </a:extLst>
          </p:cNvPr>
          <p:cNvSpPr>
            <a:spLocks noGrp="1"/>
          </p:cNvSpPr>
          <p:nvPr>
            <p:ph type="pic" sz="quarter" idx="20" hasCustomPrompt="1"/>
          </p:nvPr>
        </p:nvSpPr>
        <p:spPr>
          <a:xfrm>
            <a:off x="3521356" y="1328286"/>
            <a:ext cx="932259" cy="932259"/>
          </a:xfrm>
          <a:prstGeom prst="ellipse">
            <a:avLst/>
          </a:prstGeom>
          <a:noFill/>
        </p:spPr>
        <p:txBody>
          <a:bodyPr bIns="612000" anchor="ctr">
            <a:noAutofit/>
          </a:bodyPr>
          <a:lstStyle>
            <a:lvl1pPr algn="ctr">
              <a:defRPr sz="750"/>
            </a:lvl1pPr>
          </a:lstStyle>
          <a:p>
            <a:r>
              <a:rPr lang="en-GB" noProof="0" dirty="0"/>
              <a:t>Click to add</a:t>
            </a:r>
            <a:br>
              <a:rPr lang="en-GB" noProof="0" dirty="0"/>
            </a:br>
            <a:r>
              <a:rPr lang="en-GB" noProof="0" dirty="0"/>
              <a:t>portrait</a:t>
            </a:r>
          </a:p>
        </p:txBody>
      </p:sp>
      <p:sp>
        <p:nvSpPr>
          <p:cNvPr id="20" name="Tekstvak 19">
            <a:extLst>
              <a:ext uri="{FF2B5EF4-FFF2-40B4-BE49-F238E27FC236}">
                <a16:creationId xmlns:a16="http://schemas.microsoft.com/office/drawing/2014/main" id="{48600F9E-390C-4B33-90FB-553A50B6A3DF}"/>
              </a:ext>
            </a:extLst>
          </p:cNvPr>
          <p:cNvSpPr txBox="1"/>
          <p:nvPr userDrawn="1"/>
        </p:nvSpPr>
        <p:spPr>
          <a:xfrm>
            <a:off x="-2111614" y="2202351"/>
            <a:ext cx="1803699" cy="738664"/>
          </a:xfrm>
          <a:prstGeom prst="rect">
            <a:avLst/>
          </a:prstGeom>
          <a:noFill/>
        </p:spPr>
        <p:txBody>
          <a:bodyPr wrap="none" rtlCol="0">
            <a:spAutoFit/>
          </a:bodyPr>
          <a:lstStyle/>
          <a:p>
            <a:pPr algn="r"/>
            <a:r>
              <a:rPr lang="nl-NL" sz="1050" b="1" dirty="0">
                <a:solidFill>
                  <a:schemeClr val="bg2"/>
                </a:solidFill>
              </a:rPr>
              <a:t>No LinkedIn</a:t>
            </a:r>
            <a:br>
              <a:rPr lang="nl-NL" sz="1050" b="1" dirty="0">
                <a:solidFill>
                  <a:schemeClr val="bg2"/>
                </a:solidFill>
              </a:rPr>
            </a:br>
            <a:r>
              <a:rPr lang="nl-NL" sz="1050" b="1" dirty="0" err="1">
                <a:solidFill>
                  <a:schemeClr val="bg2"/>
                </a:solidFill>
              </a:rPr>
              <a:t>and</a:t>
            </a:r>
            <a:r>
              <a:rPr lang="nl-NL" sz="1050" b="1" dirty="0">
                <a:solidFill>
                  <a:schemeClr val="bg2"/>
                </a:solidFill>
              </a:rPr>
              <a:t>/or Twitter account?</a:t>
            </a:r>
          </a:p>
          <a:p>
            <a:pPr algn="r"/>
            <a:r>
              <a:rPr lang="nl-NL" sz="1050" dirty="0">
                <a:solidFill>
                  <a:schemeClr val="bg2"/>
                </a:solidFill>
              </a:rPr>
              <a:t>Just select the icon </a:t>
            </a:r>
            <a:r>
              <a:rPr lang="nl-NL" sz="1050" dirty="0" err="1">
                <a:solidFill>
                  <a:schemeClr val="bg2"/>
                </a:solidFill>
              </a:rPr>
              <a:t>and</a:t>
            </a:r>
            <a:br>
              <a:rPr lang="nl-NL" sz="1050" dirty="0">
                <a:solidFill>
                  <a:schemeClr val="bg2"/>
                </a:solidFill>
              </a:rPr>
            </a:br>
            <a:r>
              <a:rPr lang="nl-NL" sz="1050" dirty="0">
                <a:solidFill>
                  <a:schemeClr val="bg2"/>
                </a:solidFill>
              </a:rPr>
              <a:t>delete the icon.</a:t>
            </a:r>
          </a:p>
        </p:txBody>
      </p:sp>
      <p:sp>
        <p:nvSpPr>
          <p:cNvPr id="21" name="Gelijkbenige driehoek 20">
            <a:extLst>
              <a:ext uri="{FF2B5EF4-FFF2-40B4-BE49-F238E27FC236}">
                <a16:creationId xmlns:a16="http://schemas.microsoft.com/office/drawing/2014/main" id="{826FE8B4-A708-46EF-8A0B-48767A054ABD}"/>
              </a:ext>
            </a:extLst>
          </p:cNvPr>
          <p:cNvSpPr/>
          <p:nvPr userDrawn="1"/>
        </p:nvSpPr>
        <p:spPr>
          <a:xfrm rot="5400000" flipH="1">
            <a:off x="-257373" y="2277878"/>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jdelijke aanduiding voor tekst 9">
            <a:extLst>
              <a:ext uri="{FF2B5EF4-FFF2-40B4-BE49-F238E27FC236}">
                <a16:creationId xmlns:a16="http://schemas.microsoft.com/office/drawing/2014/main" id="{6ECAADAA-732D-415C-BE88-CB4CF471B1F4}"/>
              </a:ext>
            </a:extLst>
          </p:cNvPr>
          <p:cNvSpPr>
            <a:spLocks noGrp="1"/>
          </p:cNvSpPr>
          <p:nvPr>
            <p:ph type="body" sz="quarter" idx="21" hasCustomPrompt="1"/>
          </p:nvPr>
        </p:nvSpPr>
        <p:spPr>
          <a:xfrm>
            <a:off x="4907722" y="1328877"/>
            <a:ext cx="2500313" cy="153591"/>
          </a:xfrm>
        </p:spPr>
        <p:txBody>
          <a:bodyPr>
            <a:noAutofit/>
          </a:bodyPr>
          <a:lstStyle>
            <a:lvl1pPr>
              <a:defRPr sz="1200" b="1"/>
            </a:lvl1pPr>
          </a:lstStyle>
          <a:p>
            <a:pPr lvl="0"/>
            <a:r>
              <a:rPr lang="en-GB" noProof="0"/>
              <a:t>Name</a:t>
            </a:r>
          </a:p>
        </p:txBody>
      </p:sp>
      <p:sp>
        <p:nvSpPr>
          <p:cNvPr id="25" name="Tijdelijke aanduiding voor tekst 9">
            <a:extLst>
              <a:ext uri="{FF2B5EF4-FFF2-40B4-BE49-F238E27FC236}">
                <a16:creationId xmlns:a16="http://schemas.microsoft.com/office/drawing/2014/main" id="{42593C75-0B83-496C-AD43-97F0D23109F4}"/>
              </a:ext>
            </a:extLst>
          </p:cNvPr>
          <p:cNvSpPr>
            <a:spLocks noGrp="1"/>
          </p:cNvSpPr>
          <p:nvPr>
            <p:ph type="body" sz="quarter" idx="22" hasCustomPrompt="1"/>
          </p:nvPr>
        </p:nvSpPr>
        <p:spPr>
          <a:xfrm>
            <a:off x="4907722" y="1533644"/>
            <a:ext cx="2500313" cy="153591"/>
          </a:xfrm>
        </p:spPr>
        <p:txBody>
          <a:bodyPr>
            <a:noAutofit/>
          </a:bodyPr>
          <a:lstStyle>
            <a:lvl1pPr>
              <a:defRPr sz="1200" b="0"/>
            </a:lvl1pPr>
          </a:lstStyle>
          <a:p>
            <a:pPr lvl="0"/>
            <a:r>
              <a:rPr lang="en-GB" noProof="0" dirty="0"/>
              <a:t>Position/title</a:t>
            </a:r>
          </a:p>
        </p:txBody>
      </p:sp>
      <p:sp>
        <p:nvSpPr>
          <p:cNvPr id="26" name="Tijdelijke aanduiding voor tekst 9">
            <a:extLst>
              <a:ext uri="{FF2B5EF4-FFF2-40B4-BE49-F238E27FC236}">
                <a16:creationId xmlns:a16="http://schemas.microsoft.com/office/drawing/2014/main" id="{0AC5434D-34E9-4EF0-BD6E-C8A52665C942}"/>
              </a:ext>
            </a:extLst>
          </p:cNvPr>
          <p:cNvSpPr>
            <a:spLocks noGrp="1"/>
          </p:cNvSpPr>
          <p:nvPr>
            <p:ph type="body" sz="quarter" idx="23" hasCustomPrompt="1"/>
          </p:nvPr>
        </p:nvSpPr>
        <p:spPr>
          <a:xfrm>
            <a:off x="4907722" y="1738308"/>
            <a:ext cx="2500313" cy="153591"/>
          </a:xfrm>
        </p:spPr>
        <p:txBody>
          <a:bodyPr>
            <a:noAutofit/>
          </a:bodyPr>
          <a:lstStyle>
            <a:lvl1pPr>
              <a:defRPr sz="1200" b="0"/>
            </a:lvl1pPr>
          </a:lstStyle>
          <a:p>
            <a:pPr lvl="0"/>
            <a:r>
              <a:rPr lang="en-GB" noProof="0"/>
              <a:t>Phone number</a:t>
            </a:r>
          </a:p>
        </p:txBody>
      </p:sp>
      <p:sp>
        <p:nvSpPr>
          <p:cNvPr id="27" name="Tijdelijke aanduiding voor tekst 9">
            <a:extLst>
              <a:ext uri="{FF2B5EF4-FFF2-40B4-BE49-F238E27FC236}">
                <a16:creationId xmlns:a16="http://schemas.microsoft.com/office/drawing/2014/main" id="{36409ACF-7972-4356-B1FF-D8179ABF5B2A}"/>
              </a:ext>
            </a:extLst>
          </p:cNvPr>
          <p:cNvSpPr>
            <a:spLocks noGrp="1"/>
          </p:cNvSpPr>
          <p:nvPr>
            <p:ph type="body" sz="quarter" idx="24" hasCustomPrompt="1"/>
          </p:nvPr>
        </p:nvSpPr>
        <p:spPr>
          <a:xfrm>
            <a:off x="4907722" y="1942973"/>
            <a:ext cx="2500313" cy="153591"/>
          </a:xfrm>
        </p:spPr>
        <p:txBody>
          <a:bodyPr>
            <a:noAutofit/>
          </a:bodyPr>
          <a:lstStyle>
            <a:lvl1pPr>
              <a:defRPr sz="1200" b="0"/>
            </a:lvl1pPr>
          </a:lstStyle>
          <a:p>
            <a:pPr lvl="0"/>
            <a:r>
              <a:rPr lang="en-GB" noProof="0"/>
              <a:t>E-mail address</a:t>
            </a:r>
          </a:p>
        </p:txBody>
      </p:sp>
      <p:sp>
        <p:nvSpPr>
          <p:cNvPr id="28" name="Tijdelijke aanduiding voor afbeelding 14">
            <a:extLst>
              <a:ext uri="{FF2B5EF4-FFF2-40B4-BE49-F238E27FC236}">
                <a16:creationId xmlns:a16="http://schemas.microsoft.com/office/drawing/2014/main" id="{0A26D9E9-60D9-4D09-A959-AEB7AD4F7D29}"/>
              </a:ext>
            </a:extLst>
          </p:cNvPr>
          <p:cNvSpPr>
            <a:spLocks noGrp="1"/>
          </p:cNvSpPr>
          <p:nvPr>
            <p:ph type="pic" sz="quarter" idx="25"/>
          </p:nvPr>
        </p:nvSpPr>
        <p:spPr>
          <a:xfrm>
            <a:off x="4912046" y="2208334"/>
            <a:ext cx="250031" cy="250031"/>
          </a:xfrm>
          <a:prstGeom prst="ellipse">
            <a:avLst/>
          </a:prstGeom>
          <a:blipFill dpi="0" rotWithShape="1">
            <a:blip r:embed="rId2">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29" name="Tijdelijke aanduiding voor afbeelding 14">
            <a:extLst>
              <a:ext uri="{FF2B5EF4-FFF2-40B4-BE49-F238E27FC236}">
                <a16:creationId xmlns:a16="http://schemas.microsoft.com/office/drawing/2014/main" id="{44204517-0982-4153-9351-AFB7D5091FFC}"/>
              </a:ext>
            </a:extLst>
          </p:cNvPr>
          <p:cNvSpPr>
            <a:spLocks noGrp="1"/>
          </p:cNvSpPr>
          <p:nvPr>
            <p:ph type="pic" sz="quarter" idx="26"/>
          </p:nvPr>
        </p:nvSpPr>
        <p:spPr>
          <a:xfrm>
            <a:off x="5273684" y="2208334"/>
            <a:ext cx="250031" cy="250031"/>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r>
              <a:rPr lang="en-US" noProof="0"/>
              <a:t>Click icon to add picture</a:t>
            </a:r>
            <a:endParaRPr lang="en-GB" noProof="0"/>
          </a:p>
        </p:txBody>
      </p:sp>
      <p:sp>
        <p:nvSpPr>
          <p:cNvPr id="30" name="Tijdelijke aanduiding voor afbeelding 18">
            <a:extLst>
              <a:ext uri="{FF2B5EF4-FFF2-40B4-BE49-F238E27FC236}">
                <a16:creationId xmlns:a16="http://schemas.microsoft.com/office/drawing/2014/main" id="{4C903E3F-09F5-4E54-A204-1B2229781FD0}"/>
              </a:ext>
            </a:extLst>
          </p:cNvPr>
          <p:cNvSpPr>
            <a:spLocks noGrp="1"/>
          </p:cNvSpPr>
          <p:nvPr>
            <p:ph type="pic" sz="quarter" idx="27" hasCustomPrompt="1"/>
          </p:nvPr>
        </p:nvSpPr>
        <p:spPr>
          <a:xfrm>
            <a:off x="7555707" y="1328286"/>
            <a:ext cx="932259" cy="932259"/>
          </a:xfrm>
          <a:prstGeom prst="ellipse">
            <a:avLst/>
          </a:prstGeom>
          <a:noFill/>
        </p:spPr>
        <p:txBody>
          <a:bodyPr bIns="612000" anchor="ctr">
            <a:noAutofit/>
          </a:bodyPr>
          <a:lstStyle>
            <a:lvl1pPr algn="ctr">
              <a:defRPr sz="750"/>
            </a:lvl1pPr>
          </a:lstStyle>
          <a:p>
            <a:r>
              <a:rPr lang="en-GB" noProof="0" dirty="0"/>
              <a:t>Click to add</a:t>
            </a:r>
            <a:br>
              <a:rPr lang="en-GB" noProof="0" dirty="0"/>
            </a:br>
            <a:r>
              <a:rPr lang="en-GB" noProof="0" dirty="0"/>
              <a:t>portrait</a:t>
            </a:r>
          </a:p>
        </p:txBody>
      </p:sp>
      <p:sp>
        <p:nvSpPr>
          <p:cNvPr id="23" name="Tijdelijke aanduiding voor datum 3">
            <a:extLst>
              <a:ext uri="{FF2B5EF4-FFF2-40B4-BE49-F238E27FC236}">
                <a16:creationId xmlns:a16="http://schemas.microsoft.com/office/drawing/2014/main" id="{B304E090-E952-43BC-8713-5C707786C73F}"/>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24" name="Tijdelijke aanduiding voor voettekst 4">
            <a:extLst>
              <a:ext uri="{FF2B5EF4-FFF2-40B4-BE49-F238E27FC236}">
                <a16:creationId xmlns:a16="http://schemas.microsoft.com/office/drawing/2014/main" id="{BAF70B27-795C-49B8-BB4F-179CFA035134}"/>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33" name="Tijdelijke aanduiding voor dianummer 5">
            <a:extLst>
              <a:ext uri="{FF2B5EF4-FFF2-40B4-BE49-F238E27FC236}">
                <a16:creationId xmlns:a16="http://schemas.microsoft.com/office/drawing/2014/main" id="{72D5D7E5-F68A-4E2B-96E6-5913C514974E}"/>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spTree>
    <p:extLst>
      <p:ext uri="{BB962C8B-B14F-4D97-AF65-F5344CB8AC3E}">
        <p14:creationId xmlns:p14="http://schemas.microsoft.com/office/powerpoint/2010/main" val="1290823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1982391" y="4493449"/>
            <a:ext cx="2964653" cy="425078"/>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450" i="1" dirty="0">
                  <a:latin typeface="Arial Narrow" panose="020B0606020202030204" pitchFamily="34" charset="0"/>
                </a:rPr>
                <a:t>This work has been carried out within the framework of the EUROfusion Consortium, funded by the European Union via the </a:t>
              </a:r>
              <a:r>
                <a:rPr lang="en-US" sz="450" i="1" dirty="0" err="1">
                  <a:latin typeface="Arial Narrow" panose="020B0606020202030204" pitchFamily="34" charset="0"/>
                </a:rPr>
                <a:t>Euratom</a:t>
              </a:r>
              <a:r>
                <a:rPr lang="en-US" sz="450" i="1" dirty="0">
                  <a:latin typeface="Arial Narrow" panose="020B0606020202030204" pitchFamily="34" charset="0"/>
                </a:rPr>
                <a:t> Research and Training </a:t>
              </a:r>
              <a:r>
                <a:rPr lang="en-US" sz="450" i="1" dirty="0" err="1">
                  <a:latin typeface="Arial Narrow" panose="020B0606020202030204" pitchFamily="34" charset="0"/>
                </a:rPr>
                <a:t>Programme</a:t>
              </a:r>
              <a:r>
                <a:rPr lang="en-US" sz="45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777478" y="2821782"/>
            <a:ext cx="6373415" cy="1473628"/>
          </a:xfr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F NS Symbols Regular"/>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9848" y="4516995"/>
            <a:ext cx="1172762" cy="278588"/>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81922129"/>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777478" y="2821782"/>
            <a:ext cx="6373415" cy="1473628"/>
          </a:xfr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F NS Symbols Regular"/>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178958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1982391" y="4369148"/>
            <a:ext cx="2964653" cy="425078"/>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450" i="1" dirty="0">
                  <a:latin typeface="Arial Narrow" panose="020B0606020202030204" pitchFamily="34" charset="0"/>
                </a:rPr>
                <a:t>This work has been carried out within the framework of the EUROfusion Consortium, funded by the European Union via the </a:t>
              </a:r>
              <a:r>
                <a:rPr lang="en-US" sz="450" i="1" dirty="0" err="1">
                  <a:latin typeface="Arial Narrow" panose="020B0606020202030204" pitchFamily="34" charset="0"/>
                </a:rPr>
                <a:t>Euratom</a:t>
              </a:r>
              <a:r>
                <a:rPr lang="en-US" sz="450" i="1" dirty="0">
                  <a:latin typeface="Arial Narrow" panose="020B0606020202030204" pitchFamily="34" charset="0"/>
                </a:rPr>
                <a:t> Research and Training </a:t>
              </a:r>
              <a:r>
                <a:rPr lang="en-US" sz="450" i="1" dirty="0" err="1">
                  <a:latin typeface="Arial Narrow" panose="020B0606020202030204" pitchFamily="34" charset="0"/>
                </a:rPr>
                <a:t>Programme</a:t>
              </a:r>
              <a:r>
                <a:rPr lang="en-US" sz="45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777478" y="2821782"/>
            <a:ext cx="6373415" cy="1190149"/>
          </a:xfr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F NS Symbols Regular"/>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9848" y="4392694"/>
            <a:ext cx="1172762" cy="278588"/>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5029202" y="2746772"/>
            <a:ext cx="3648456" cy="1596200"/>
          </a:xfrm>
          <a:noFill/>
        </p:spPr>
        <p:txBody>
          <a:bodyPr/>
          <a:lstStyle>
            <a:lvl1pPr>
              <a:defRPr sz="36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374448563"/>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777478" y="2821782"/>
            <a:ext cx="6373415" cy="1190149"/>
          </a:xfr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F NS Symbols Regular"/>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sp>
        <p:nvSpPr>
          <p:cNvPr id="5" name="Datumsplatzhalter 4"/>
          <p:cNvSpPr>
            <a:spLocks noGrp="1"/>
          </p:cNvSpPr>
          <p:nvPr>
            <p:ph type="dt" sz="half" idx="10"/>
          </p:nvPr>
        </p:nvSpPr>
        <p:spPr/>
        <p:txBody>
          <a:bodyPr/>
          <a:lstStyle/>
          <a:p>
            <a:endParaRPr lang="de-DE" dirty="0"/>
          </a:p>
        </p:txBody>
      </p:sp>
      <p:sp>
        <p:nvSpPr>
          <p:cNvPr id="6" name="Fußzeilenplatzhalter 5"/>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5029200" y="2746773"/>
            <a:ext cx="3648075" cy="1596628"/>
          </a:xfrm>
        </p:spPr>
        <p:txBody>
          <a:bodyPr>
            <a:noAutofit/>
          </a:bodyPr>
          <a:lstStyle>
            <a:lvl1pPr>
              <a:defRPr sz="36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514057244"/>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494110" y="1207294"/>
            <a:ext cx="8128397" cy="363259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endParaRPr lang="de-DE" dirty="0"/>
          </a:p>
        </p:txBody>
      </p:sp>
      <p:sp>
        <p:nvSpPr>
          <p:cNvPr id="9" name="Fußzeilenplatzhalter 8"/>
          <p:cNvSpPr>
            <a:spLocks noGrp="1"/>
          </p:cNvSpPr>
          <p:nvPr>
            <p:ph type="ftr" sz="quarter" idx="15"/>
          </p:nvPr>
        </p:nvSpPr>
        <p:spPr/>
        <p:txBody>
          <a:bodyPr/>
          <a:lstStyle/>
          <a:p>
            <a:r>
              <a:rPr lang="en-US"/>
              <a:t>Alexander Feichtmayer | Joint E2/E2M Program Seminar 2024 | Kloster Seeon | 19.03.2024</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364510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4177109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endParaRPr lang="de-DE" dirty="0"/>
          </a:p>
        </p:txBody>
      </p:sp>
      <p:sp>
        <p:nvSpPr>
          <p:cNvPr id="16" name="Fußzeilenplatzhalter 15"/>
          <p:cNvSpPr>
            <a:spLocks noGrp="1"/>
          </p:cNvSpPr>
          <p:nvPr>
            <p:ph type="ftr" sz="quarter" idx="15"/>
          </p:nvPr>
        </p:nvSpPr>
        <p:spPr/>
        <p:txBody>
          <a:bodyPr/>
          <a:lstStyle/>
          <a:p>
            <a:r>
              <a:rPr lang="en-US"/>
              <a:t>Alexander Feichtmayer | Joint E2/E2M Program Seminar 2024 | Kloster Seeon | 19.03.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494110" y="1207294"/>
            <a:ext cx="7885509" cy="363259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030939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ommaire light">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BD2E413D-76E6-5233-CF73-FD49BCAF474D}"/>
              </a:ext>
            </a:extLst>
          </p:cNvPr>
          <p:cNvSpPr>
            <a:spLocks noGrp="1"/>
          </p:cNvSpPr>
          <p:nvPr>
            <p:ph idx="1" hasCustomPrompt="1"/>
          </p:nvPr>
        </p:nvSpPr>
        <p:spPr>
          <a:xfrm>
            <a:off x="545307" y="1323975"/>
            <a:ext cx="6494859" cy="3111104"/>
          </a:xfrm>
        </p:spPr>
        <p:txBody>
          <a:bodyPr lIns="0" numCol="2" spcCol="360000"/>
          <a:lstStyle>
            <a:lvl1pPr marL="269081" indent="-269081">
              <a:spcBef>
                <a:spcPts val="1350"/>
              </a:spcBef>
              <a:buClr>
                <a:schemeClr val="tx2"/>
              </a:buClr>
              <a:buSzPct val="100000"/>
              <a:buFont typeface="+mj-lt"/>
              <a:buAutoNum type="arabicPeriod"/>
              <a:defRPr>
                <a:solidFill>
                  <a:schemeClr val="tx1"/>
                </a:solidFill>
                <a:latin typeface="+mj-lt"/>
              </a:defRPr>
            </a:lvl1pPr>
            <a:lvl2pPr marL="269081" indent="0">
              <a:buFontTx/>
              <a:buNone/>
              <a:defRPr sz="1050">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r-FR"/>
              <a:t>Modifier les styles du texte du masque</a:t>
            </a:r>
          </a:p>
          <a:p>
            <a:pPr lvl="1"/>
            <a:r>
              <a:rPr lang="fr-FR"/>
              <a:t>Deuxième niveau</a:t>
            </a:r>
          </a:p>
        </p:txBody>
      </p:sp>
      <p:sp>
        <p:nvSpPr>
          <p:cNvPr id="7" name="ZoneTexte 6">
            <a:extLst>
              <a:ext uri="{FF2B5EF4-FFF2-40B4-BE49-F238E27FC236}">
                <a16:creationId xmlns:a16="http://schemas.microsoft.com/office/drawing/2014/main" id="{4585063C-DA94-C737-8964-5690FC880710}"/>
              </a:ext>
            </a:extLst>
          </p:cNvPr>
          <p:cNvSpPr txBox="1"/>
          <p:nvPr userDrawn="1"/>
        </p:nvSpPr>
        <p:spPr>
          <a:xfrm>
            <a:off x="-76200" y="-207749"/>
            <a:ext cx="9144000" cy="369332"/>
          </a:xfrm>
          <a:prstGeom prst="rect">
            <a:avLst/>
          </a:prstGeom>
          <a:noFill/>
        </p:spPr>
        <p:txBody>
          <a:bodyPr wrap="square" rtlCol="0">
            <a:spAutoFit/>
          </a:bodyPr>
          <a:lstStyle/>
          <a:p>
            <a:r>
              <a:rPr lang="fr-FR" sz="900" dirty="0">
                <a:solidFill>
                  <a:schemeClr val="bg1">
                    <a:lumMod val="50000"/>
                  </a:schemeClr>
                </a:solidFill>
              </a:rPr>
              <a:t>Disposition : Sommaire light</a:t>
            </a:r>
          </a:p>
          <a:p>
            <a:endParaRPr lang="fr-FR" sz="900" dirty="0">
              <a:solidFill>
                <a:schemeClr val="bg1">
                  <a:lumMod val="50000"/>
                </a:schemeClr>
              </a:solidFill>
            </a:endParaRPr>
          </a:p>
        </p:txBody>
      </p:sp>
      <p:sp>
        <p:nvSpPr>
          <p:cNvPr id="2" name="ZoneTexte 1">
            <a:extLst>
              <a:ext uri="{FF2B5EF4-FFF2-40B4-BE49-F238E27FC236}">
                <a16:creationId xmlns:a16="http://schemas.microsoft.com/office/drawing/2014/main" id="{A21E7187-2172-D725-E095-C0FCE93238AE}"/>
              </a:ext>
            </a:extLst>
          </p:cNvPr>
          <p:cNvSpPr txBox="1"/>
          <p:nvPr userDrawn="1"/>
        </p:nvSpPr>
        <p:spPr>
          <a:xfrm>
            <a:off x="-76200" y="5143500"/>
            <a:ext cx="9144000" cy="369332"/>
          </a:xfrm>
          <a:prstGeom prst="rect">
            <a:avLst/>
          </a:prstGeom>
          <a:noFill/>
        </p:spPr>
        <p:txBody>
          <a:bodyPr wrap="square" rtlCol="0">
            <a:spAutoFit/>
          </a:bodyPr>
          <a:lstStyle/>
          <a:p>
            <a:r>
              <a:rPr lang="fr-FR" sz="900" dirty="0">
                <a:solidFill>
                  <a:schemeClr val="bg1">
                    <a:lumMod val="50000"/>
                  </a:schemeClr>
                </a:solidFill>
              </a:rPr>
              <a:t>Astuce :Ce sommaire est sur deux colonnes, pour passer sur une colonne : Clic droit sur la zone de texte + « Format de la forme » / « Options de texte » / « Colonnes » = 1 </a:t>
            </a:r>
          </a:p>
          <a:p>
            <a:endParaRPr lang="fr-FR" sz="900" dirty="0">
              <a:solidFill>
                <a:schemeClr val="bg1">
                  <a:lumMod val="50000"/>
                </a:schemeClr>
              </a:solidFill>
            </a:endParaRPr>
          </a:p>
        </p:txBody>
      </p:sp>
      <p:sp>
        <p:nvSpPr>
          <p:cNvPr id="14" name="Espace réservé du titre 1">
            <a:extLst>
              <a:ext uri="{FF2B5EF4-FFF2-40B4-BE49-F238E27FC236}">
                <a16:creationId xmlns:a16="http://schemas.microsoft.com/office/drawing/2014/main" id="{1502D9F9-80C2-D30F-8D8B-9F5A494EF69D}"/>
              </a:ext>
            </a:extLst>
          </p:cNvPr>
          <p:cNvSpPr>
            <a:spLocks noGrp="1"/>
          </p:cNvSpPr>
          <p:nvPr>
            <p:ph type="title"/>
          </p:nvPr>
        </p:nvSpPr>
        <p:spPr>
          <a:xfrm>
            <a:off x="545308" y="235528"/>
            <a:ext cx="8049815" cy="653870"/>
          </a:xfrm>
          <a:prstGeom prst="rect">
            <a:avLst/>
          </a:prstGeom>
        </p:spPr>
        <p:txBody>
          <a:bodyPr vert="horz" lIns="0" tIns="45720" rIns="91440" bIns="45720" rtlCol="0" anchor="t">
            <a:normAutofit/>
          </a:bodyPr>
          <a:lstStyle/>
          <a:p>
            <a:r>
              <a:rPr lang="fr-FR"/>
              <a:t>Modifiez le style du titre</a:t>
            </a:r>
            <a:endParaRPr lang="fr-FR" dirty="0"/>
          </a:p>
        </p:txBody>
      </p:sp>
      <p:pic>
        <p:nvPicPr>
          <p:cNvPr id="11" name="Image 10">
            <a:extLst>
              <a:ext uri="{FF2B5EF4-FFF2-40B4-BE49-F238E27FC236}">
                <a16:creationId xmlns:a16="http://schemas.microsoft.com/office/drawing/2014/main" id="{8B329AAF-3546-DCEA-619B-466FB9B5443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666" r="82842" b="2802"/>
          <a:stretch/>
        </p:blipFill>
        <p:spPr>
          <a:xfrm>
            <a:off x="8735958" y="0"/>
            <a:ext cx="408042" cy="5143500"/>
          </a:xfrm>
          <a:prstGeom prst="rect">
            <a:avLst/>
          </a:prstGeom>
        </p:spPr>
      </p:pic>
      <p:sp>
        <p:nvSpPr>
          <p:cNvPr id="12" name="Espace réservé de la date 11">
            <a:extLst>
              <a:ext uri="{FF2B5EF4-FFF2-40B4-BE49-F238E27FC236}">
                <a16:creationId xmlns:a16="http://schemas.microsoft.com/office/drawing/2014/main" id="{AB8B2ECB-EC50-E1E8-3A70-D0DF5B546EB4}"/>
              </a:ext>
            </a:extLst>
          </p:cNvPr>
          <p:cNvSpPr>
            <a:spLocks noGrp="1"/>
          </p:cNvSpPr>
          <p:nvPr>
            <p:ph type="dt" sz="half" idx="10"/>
          </p:nvPr>
        </p:nvSpPr>
        <p:spPr/>
        <p:txBody>
          <a:bodyPr/>
          <a:lstStyle/>
          <a:p>
            <a:r>
              <a:rPr lang="fr-FR"/>
              <a:t>28/10/2022</a:t>
            </a:r>
            <a:endParaRPr lang="fr-FR" dirty="0"/>
          </a:p>
        </p:txBody>
      </p:sp>
      <p:sp>
        <p:nvSpPr>
          <p:cNvPr id="16" name="Espace réservé du numéro de diapositive 15">
            <a:extLst>
              <a:ext uri="{FF2B5EF4-FFF2-40B4-BE49-F238E27FC236}">
                <a16:creationId xmlns:a16="http://schemas.microsoft.com/office/drawing/2014/main" id="{43A448DB-A450-22D2-9A30-CE94EAFD7623}"/>
              </a:ext>
            </a:extLst>
          </p:cNvPr>
          <p:cNvSpPr>
            <a:spLocks noGrp="1"/>
          </p:cNvSpPr>
          <p:nvPr>
            <p:ph type="sldNum" sz="quarter" idx="12"/>
          </p:nvPr>
        </p:nvSpPr>
        <p:spPr/>
        <p:txBody>
          <a:bodyPr/>
          <a:lstStyle/>
          <a:p>
            <a:fld id="{0CBC77A0-1F4E-42FF-9FFC-F45C3A64AF90}" type="slidenum">
              <a:rPr lang="fr-FR" smtClean="0"/>
              <a:pPr/>
              <a:t>‹Nr.›</a:t>
            </a:fld>
            <a:endParaRPr lang="fr-FR" dirty="0"/>
          </a:p>
        </p:txBody>
      </p:sp>
      <p:sp>
        <p:nvSpPr>
          <p:cNvPr id="10"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Tree>
    <p:extLst>
      <p:ext uri="{BB962C8B-B14F-4D97-AF65-F5344CB8AC3E}">
        <p14:creationId xmlns:p14="http://schemas.microsoft.com/office/powerpoint/2010/main" val="409493063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1"/>
            </p:custDataLst>
            <p:extLst>
              <p:ext uri="{D42A27DB-BD31-4B8C-83A1-F6EECF244321}">
                <p14:modId xmlns:p14="http://schemas.microsoft.com/office/powerpoint/2010/main" val="144969899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494109" y="1410891"/>
            <a:ext cx="3949303" cy="3429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722019" y="1410891"/>
            <a:ext cx="3900488" cy="3429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endParaRPr lang="de-DE" dirty="0"/>
          </a:p>
        </p:txBody>
      </p:sp>
      <p:sp>
        <p:nvSpPr>
          <p:cNvPr id="13" name="Fußzeilenplatzhalter 12"/>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2943343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494110" y="925117"/>
            <a:ext cx="8128397" cy="3914774"/>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endParaRPr lang="de-DE" dirty="0"/>
          </a:p>
        </p:txBody>
      </p:sp>
      <p:sp>
        <p:nvSpPr>
          <p:cNvPr id="6" name="Fußzeilenplatzhalter 5"/>
          <p:cNvSpPr>
            <a:spLocks noGrp="1"/>
          </p:cNvSpPr>
          <p:nvPr>
            <p:ph type="ftr" sz="quarter" idx="15"/>
          </p:nvPr>
        </p:nvSpPr>
        <p:spPr/>
        <p:txBody>
          <a:bodyPr/>
          <a:lstStyle/>
          <a:p>
            <a:r>
              <a:rPr lang="en-US"/>
              <a:t>Alexander Feichtmayer | Joint E2/E2M Program Seminar 2024 | Kloster Seeon | 19.03.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7154396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endParaRPr lang="de-DE" dirty="0"/>
          </a:p>
        </p:txBody>
      </p:sp>
      <p:sp>
        <p:nvSpPr>
          <p:cNvPr id="9" name="Fußzeilenplatzhalter 8"/>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399410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2535874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1253741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335823517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494110" y="2786024"/>
            <a:ext cx="8128397" cy="2000288"/>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endParaRPr lang="de-DE" dirty="0"/>
          </a:p>
        </p:txBody>
      </p:sp>
      <p:sp>
        <p:nvSpPr>
          <p:cNvPr id="12" name="Fußzeilenplatzhalter 11"/>
          <p:cNvSpPr>
            <a:spLocks noGrp="1"/>
          </p:cNvSpPr>
          <p:nvPr>
            <p:ph type="ftr" sz="quarter" idx="11"/>
          </p:nvPr>
        </p:nvSpPr>
        <p:spPr/>
        <p:txBody>
          <a:bodyPr/>
          <a:lstStyle/>
          <a:p>
            <a:r>
              <a:rPr lang="en-US"/>
              <a:t>Alexander Feichtmayer | Joint E2/E2M Program Seminar 2024 | Kloster Seeon | 19.03.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9280224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37535528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494109" y="1207294"/>
            <a:ext cx="7881461" cy="363259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endParaRPr lang="de-DE" dirty="0"/>
          </a:p>
        </p:txBody>
      </p:sp>
      <p:sp>
        <p:nvSpPr>
          <p:cNvPr id="13" name="Fußzeilenplatzhalter 12"/>
          <p:cNvSpPr>
            <a:spLocks noGrp="1"/>
          </p:cNvSpPr>
          <p:nvPr>
            <p:ph type="ftr" sz="quarter" idx="15"/>
          </p:nvPr>
        </p:nvSpPr>
        <p:spPr/>
        <p:txBody>
          <a:bodyPr/>
          <a:lstStyle/>
          <a:p>
            <a:r>
              <a:rPr lang="en-US"/>
              <a:t>Alexander Feichtmayer | Joint E2/E2M Program Seminar 2024 | Kloster Seeon | 19.03.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4995052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256500"/>
            <a:ext cx="9144000" cy="3800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 name="Title 1"/>
          <p:cNvSpPr>
            <a:spLocks noGrp="1"/>
          </p:cNvSpPr>
          <p:nvPr>
            <p:ph type="ctrTitle" hasCustomPrompt="1"/>
          </p:nvPr>
        </p:nvSpPr>
        <p:spPr>
          <a:xfrm>
            <a:off x="548880" y="403008"/>
            <a:ext cx="8046242" cy="467553"/>
          </a:xfrm>
        </p:spPr>
        <p:txBody>
          <a:bodyPr anchor="t"/>
          <a:lstStyle>
            <a:lvl1pPr algn="l">
              <a:lnSpc>
                <a:spcPct val="114000"/>
              </a:lnSpc>
              <a:spcBef>
                <a:spcPts val="0"/>
              </a:spcBef>
              <a:defRPr sz="24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548878" y="1833144"/>
            <a:ext cx="8046244" cy="387567"/>
          </a:xfrm>
        </p:spPr>
        <p:txBody>
          <a:bodyPr/>
          <a:lstStyle>
            <a:lvl1pPr marL="0" indent="0" algn="l">
              <a:buNone/>
              <a:defRPr sz="1200" cap="all" spc="45"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548878" y="816555"/>
            <a:ext cx="8046244" cy="545372"/>
          </a:xfrm>
        </p:spPr>
        <p:txBody>
          <a:bodyPr/>
          <a:lstStyle>
            <a:lvl1pPr marL="0" indent="0">
              <a:lnSpc>
                <a:spcPct val="114000"/>
              </a:lnSpc>
              <a:spcBef>
                <a:spcPts val="0"/>
              </a:spcBef>
              <a:spcAft>
                <a:spcPts val="0"/>
              </a:spcAft>
              <a:buNone/>
              <a:defRPr sz="2400" b="1" cap="all"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1148395355"/>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713E3ED-78BF-4AEF-A5C2-46B7E751DB0E}"/>
              </a:ext>
            </a:extLst>
          </p:cNvPr>
          <p:cNvSpPr/>
          <p:nvPr userDrawn="1"/>
        </p:nvSpPr>
        <p:spPr>
          <a:xfrm>
            <a:off x="0" y="256500"/>
            <a:ext cx="9144000" cy="3800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 name="Title 1"/>
          <p:cNvSpPr>
            <a:spLocks noGrp="1"/>
          </p:cNvSpPr>
          <p:nvPr>
            <p:ph type="ctrTitle" hasCustomPrompt="1"/>
          </p:nvPr>
        </p:nvSpPr>
        <p:spPr>
          <a:xfrm>
            <a:off x="548880" y="403008"/>
            <a:ext cx="8046242" cy="467553"/>
          </a:xfrm>
        </p:spPr>
        <p:txBody>
          <a:bodyPr anchor="t"/>
          <a:lstStyle>
            <a:lvl1pPr algn="l">
              <a:lnSpc>
                <a:spcPct val="114000"/>
              </a:lnSpc>
              <a:spcBef>
                <a:spcPts val="0"/>
              </a:spcBef>
              <a:defRPr sz="24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548879" y="1995162"/>
            <a:ext cx="8046243" cy="387567"/>
          </a:xfrm>
        </p:spPr>
        <p:txBody>
          <a:bodyPr/>
          <a:lstStyle>
            <a:lvl1pPr marL="0" indent="0" algn="l">
              <a:buNone/>
              <a:defRPr sz="1200" cap="all" spc="45"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548879" y="843558"/>
            <a:ext cx="8046244" cy="1021352"/>
          </a:xfrm>
        </p:spPr>
        <p:txBody>
          <a:bodyPr/>
          <a:lstStyle>
            <a:lvl1pPr marL="0" indent="0">
              <a:lnSpc>
                <a:spcPct val="114000"/>
              </a:lnSpc>
              <a:spcBef>
                <a:spcPts val="0"/>
              </a:spcBef>
              <a:spcAft>
                <a:spcPts val="0"/>
              </a:spcAft>
              <a:buNone/>
              <a:defRPr sz="135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1593472729"/>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278606" y="255985"/>
            <a:ext cx="8586788" cy="2315765"/>
          </a:xfrm>
          <a:solidFill>
            <a:schemeClr val="bg2"/>
          </a:solidFill>
        </p:spPr>
        <p:txBody>
          <a:bodyPr anchor="ctr"/>
          <a:lstStyle>
            <a:lvl1pPr marL="0" indent="0" algn="ctr">
              <a:buNone/>
              <a:defRPr sz="12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2571750"/>
            <a:ext cx="9144000" cy="14851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 name="Title 1"/>
          <p:cNvSpPr>
            <a:spLocks noGrp="1"/>
          </p:cNvSpPr>
          <p:nvPr>
            <p:ph type="ctrTitle" hasCustomPrompt="1"/>
          </p:nvPr>
        </p:nvSpPr>
        <p:spPr>
          <a:xfrm>
            <a:off x="548879" y="2725266"/>
            <a:ext cx="8046243" cy="467553"/>
          </a:xfrm>
        </p:spPr>
        <p:txBody>
          <a:bodyPr anchor="t"/>
          <a:lstStyle>
            <a:lvl1pPr algn="l">
              <a:lnSpc>
                <a:spcPct val="114000"/>
              </a:lnSpc>
              <a:spcBef>
                <a:spcPts val="0"/>
              </a:spcBef>
              <a:defRPr sz="2400" cap="none"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548878" y="3728117"/>
            <a:ext cx="8046244" cy="270000"/>
          </a:xfrm>
        </p:spPr>
        <p:txBody>
          <a:bodyPr/>
          <a:lstStyle>
            <a:lvl1pPr marL="0" indent="0" algn="l">
              <a:buNone/>
              <a:defRPr sz="1200" cap="all" spc="45"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548878" y="3138813"/>
            <a:ext cx="8046244" cy="545372"/>
          </a:xfrm>
        </p:spPr>
        <p:txBody>
          <a:bodyPr/>
          <a:lstStyle>
            <a:lvl1pPr marL="0" indent="0">
              <a:lnSpc>
                <a:spcPct val="114000"/>
              </a:lnSpc>
              <a:spcBef>
                <a:spcPts val="0"/>
              </a:spcBef>
              <a:spcAft>
                <a:spcPts val="0"/>
              </a:spcAft>
              <a:buNone/>
              <a:defRPr sz="2400" b="1" cap="none" spc="0" baseline="0">
                <a:solidFill>
                  <a:schemeClr val="accent1"/>
                </a:solidFill>
              </a:defRPr>
            </a:lvl1pPr>
          </a:lstStyle>
          <a:p>
            <a:pPr lvl="0"/>
            <a:r>
              <a:rPr lang="de-DE" dirty="0" err="1"/>
              <a:t>Subline</a:t>
            </a:r>
            <a:r>
              <a:rPr lang="de-DE" dirty="0"/>
              <a:t> der Präsentation</a:t>
            </a:r>
          </a:p>
        </p:txBody>
      </p:sp>
    </p:spTree>
    <p:extLst>
      <p:ext uri="{BB962C8B-B14F-4D97-AF65-F5344CB8AC3E}">
        <p14:creationId xmlns:p14="http://schemas.microsoft.com/office/powerpoint/2010/main" val="2070477586"/>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4A1B7C4-7B43-4178-878E-3C1A63AA60FE}"/>
              </a:ext>
            </a:extLst>
          </p:cNvPr>
          <p:cNvSpPr>
            <a:spLocks noGrp="1"/>
          </p:cNvSpPr>
          <p:nvPr>
            <p:ph type="pic" sz="quarter" idx="13"/>
          </p:nvPr>
        </p:nvSpPr>
        <p:spPr>
          <a:xfrm>
            <a:off x="278606" y="255985"/>
            <a:ext cx="8586788" cy="2315765"/>
          </a:xfrm>
          <a:solidFill>
            <a:schemeClr val="bg2"/>
          </a:solidFill>
        </p:spPr>
        <p:txBody>
          <a:bodyPr anchor="ctr"/>
          <a:lstStyle>
            <a:lvl1pPr marL="0" indent="0" algn="ctr">
              <a:buNone/>
              <a:defRPr sz="1200">
                <a:solidFill>
                  <a:schemeClr val="tx1"/>
                </a:solidFill>
              </a:defRPr>
            </a:lvl1pPr>
          </a:lstStyle>
          <a:p>
            <a:r>
              <a:rPr lang="de-DE"/>
              <a:t>Bild durch Klicken auf Symbol hinzufügen</a:t>
            </a:r>
            <a:endParaRPr lang="de-DE" dirty="0"/>
          </a:p>
        </p:txBody>
      </p:sp>
      <p:sp>
        <p:nvSpPr>
          <p:cNvPr id="13" name="Rechteck 12">
            <a:extLst>
              <a:ext uri="{FF2B5EF4-FFF2-40B4-BE49-F238E27FC236}">
                <a16:creationId xmlns:a16="http://schemas.microsoft.com/office/drawing/2014/main" id="{E713E3ED-78BF-4AEF-A5C2-46B7E751DB0E}"/>
              </a:ext>
            </a:extLst>
          </p:cNvPr>
          <p:cNvSpPr/>
          <p:nvPr userDrawn="1"/>
        </p:nvSpPr>
        <p:spPr>
          <a:xfrm>
            <a:off x="0" y="2571750"/>
            <a:ext cx="9144000" cy="14851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2" name="Title 1"/>
          <p:cNvSpPr>
            <a:spLocks noGrp="1"/>
          </p:cNvSpPr>
          <p:nvPr>
            <p:ph type="ctrTitle" hasCustomPrompt="1"/>
          </p:nvPr>
        </p:nvSpPr>
        <p:spPr>
          <a:xfrm>
            <a:off x="548879" y="2725266"/>
            <a:ext cx="8046243" cy="467553"/>
          </a:xfrm>
        </p:spPr>
        <p:txBody>
          <a:bodyPr anchor="t"/>
          <a:lstStyle>
            <a:lvl1pPr algn="l">
              <a:lnSpc>
                <a:spcPct val="114000"/>
              </a:lnSpc>
              <a:spcBef>
                <a:spcPts val="0"/>
              </a:spcBef>
              <a:defRPr sz="2400" spc="0" baseline="0">
                <a:solidFill>
                  <a:schemeClr val="bg1"/>
                </a:solidFill>
              </a:defRPr>
            </a:lvl1pPr>
          </a:lstStyle>
          <a:p>
            <a:r>
              <a:rPr lang="de-DE" dirty="0"/>
              <a:t>Headline der Präsentation</a:t>
            </a:r>
            <a:endParaRPr lang="en-US" dirty="0"/>
          </a:p>
        </p:txBody>
      </p:sp>
      <p:sp>
        <p:nvSpPr>
          <p:cNvPr id="3" name="Subtitle 2"/>
          <p:cNvSpPr>
            <a:spLocks noGrp="1"/>
          </p:cNvSpPr>
          <p:nvPr>
            <p:ph type="subTitle" idx="1" hasCustomPrompt="1"/>
          </p:nvPr>
        </p:nvSpPr>
        <p:spPr>
          <a:xfrm>
            <a:off x="548878" y="3683636"/>
            <a:ext cx="8046244" cy="270000"/>
          </a:xfrm>
        </p:spPr>
        <p:txBody>
          <a:bodyPr/>
          <a:lstStyle>
            <a:lvl1pPr marL="0" indent="0" algn="l">
              <a:buNone/>
              <a:defRPr sz="1200" cap="all" spc="45"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Datum  |  Name</a:t>
            </a:r>
            <a:endParaRPr lang="en-US" dirty="0"/>
          </a:p>
        </p:txBody>
      </p:sp>
      <p:sp>
        <p:nvSpPr>
          <p:cNvPr id="12" name="Textplatzhalter 10">
            <a:extLst>
              <a:ext uri="{FF2B5EF4-FFF2-40B4-BE49-F238E27FC236}">
                <a16:creationId xmlns:a16="http://schemas.microsoft.com/office/drawing/2014/main" id="{D585CE71-710A-4145-8AA7-7070BBC1B76C}"/>
              </a:ext>
            </a:extLst>
          </p:cNvPr>
          <p:cNvSpPr>
            <a:spLocks noGrp="1"/>
          </p:cNvSpPr>
          <p:nvPr>
            <p:ph type="body" sz="quarter" idx="12" hasCustomPrompt="1"/>
          </p:nvPr>
        </p:nvSpPr>
        <p:spPr>
          <a:xfrm>
            <a:off x="548878" y="3165816"/>
            <a:ext cx="8046244" cy="410357"/>
          </a:xfrm>
        </p:spPr>
        <p:txBody>
          <a:bodyPr vert="horz" lIns="0" tIns="0" rIns="0" bIns="0" rtlCol="0" anchor="t" anchorCtr="0">
            <a:noAutofit/>
          </a:bodyPr>
          <a:lstStyle>
            <a:lvl1pPr marL="0" indent="0">
              <a:lnSpc>
                <a:spcPct val="114000"/>
              </a:lnSpc>
              <a:spcBef>
                <a:spcPts val="0"/>
              </a:spcBef>
              <a:spcAft>
                <a:spcPts val="0"/>
              </a:spcAft>
              <a:buNone/>
              <a:defRPr lang="de-DE" sz="1350" b="1" cap="none" spc="0" baseline="0" dirty="0">
                <a:solidFill>
                  <a:schemeClr val="accent1"/>
                </a:solidFill>
              </a:defRPr>
            </a:lvl1pPr>
          </a:lstStyle>
          <a:p>
            <a:pPr marL="171450" lvl="0" indent="-171450">
              <a:lnSpc>
                <a:spcPct val="100000"/>
              </a:lnSpc>
              <a:spcBef>
                <a:spcPts val="0"/>
              </a:spcBef>
            </a:pPr>
            <a:r>
              <a:rPr lang="de-DE" dirty="0" err="1"/>
              <a:t>Subline</a:t>
            </a:r>
            <a:r>
              <a:rPr lang="de-DE" dirty="0"/>
              <a:t> der Präsentation</a:t>
            </a:r>
          </a:p>
        </p:txBody>
      </p:sp>
    </p:spTree>
    <p:extLst>
      <p:ext uri="{BB962C8B-B14F-4D97-AF65-F5344CB8AC3E}">
        <p14:creationId xmlns:p14="http://schemas.microsoft.com/office/powerpoint/2010/main" val="316888617"/>
      </p:ext>
    </p:extLst>
  </p:cSld>
  <p:clrMapOvr>
    <a:masterClrMapping/>
  </p:clrMapOvr>
  <p:extLst>
    <p:ext uri="{DCECCB84-F9BA-43D5-87BE-67443E8EF086}">
      <p15:sldGuideLst xmlns:p15="http://schemas.microsoft.com/office/powerpoint/2012/main">
        <p15:guide id="1" pos="461">
          <p15:clr>
            <a:srgbClr val="FBAE40"/>
          </p15:clr>
        </p15:guide>
        <p15:guide id="2" pos="72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B122C-7C32-00D5-5677-35CC8ABC8223}"/>
              </a:ext>
            </a:extLst>
          </p:cNvPr>
          <p:cNvSpPr/>
          <p:nvPr userDrawn="1"/>
        </p:nvSpPr>
        <p:spPr>
          <a:xfrm>
            <a:off x="0" y="0"/>
            <a:ext cx="9144000" cy="514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 name="Titre 1">
            <a:extLst>
              <a:ext uri="{FF2B5EF4-FFF2-40B4-BE49-F238E27FC236}">
                <a16:creationId xmlns:a16="http://schemas.microsoft.com/office/drawing/2014/main" id="{2C297F72-9AE9-FCA1-E35C-172594739B42}"/>
              </a:ext>
            </a:extLst>
          </p:cNvPr>
          <p:cNvSpPr>
            <a:spLocks noGrp="1"/>
          </p:cNvSpPr>
          <p:nvPr>
            <p:ph type="title" hasCustomPrompt="1"/>
          </p:nvPr>
        </p:nvSpPr>
        <p:spPr>
          <a:xfrm>
            <a:off x="2828926" y="1628776"/>
            <a:ext cx="5766197" cy="1793081"/>
          </a:xfrm>
        </p:spPr>
        <p:txBody>
          <a:bodyPr anchor="b">
            <a:normAutofit/>
          </a:bodyPr>
          <a:lstStyle>
            <a:lvl1pPr>
              <a:defRPr sz="4050">
                <a:solidFill>
                  <a:schemeClr val="bg1"/>
                </a:solidFill>
              </a:defRPr>
            </a:lvl1pPr>
          </a:lstStyle>
          <a:p>
            <a:r>
              <a:rPr lang="fr-FR" dirty="0"/>
              <a:t>Titre de la partie</a:t>
            </a:r>
          </a:p>
        </p:txBody>
      </p:sp>
      <p:sp>
        <p:nvSpPr>
          <p:cNvPr id="3" name="Espace réservé du texte 2">
            <a:extLst>
              <a:ext uri="{FF2B5EF4-FFF2-40B4-BE49-F238E27FC236}">
                <a16:creationId xmlns:a16="http://schemas.microsoft.com/office/drawing/2014/main" id="{5E8D3273-E080-F9CC-63A9-0032F5C40FC7}"/>
              </a:ext>
            </a:extLst>
          </p:cNvPr>
          <p:cNvSpPr>
            <a:spLocks noGrp="1"/>
          </p:cNvSpPr>
          <p:nvPr>
            <p:ph type="body" idx="1"/>
          </p:nvPr>
        </p:nvSpPr>
        <p:spPr>
          <a:xfrm>
            <a:off x="2828926" y="3526971"/>
            <a:ext cx="5766197" cy="1040266"/>
          </a:xfrm>
        </p:spPr>
        <p:txBody>
          <a:bodyPr/>
          <a:lstStyle>
            <a:lvl1pPr marL="0" indent="0">
              <a:buNone/>
              <a:defRPr sz="1800">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E1D6D37F-6A1E-3B66-26C8-C0F17D653E9C}"/>
              </a:ext>
            </a:extLst>
          </p:cNvPr>
          <p:cNvSpPr>
            <a:spLocks noGrp="1"/>
          </p:cNvSpPr>
          <p:nvPr>
            <p:ph type="dt" sz="half" idx="10"/>
          </p:nvPr>
        </p:nvSpPr>
        <p:spPr/>
        <p:txBody>
          <a:bodyPr/>
          <a:lstStyle>
            <a:lvl1pPr>
              <a:defRPr>
                <a:solidFill>
                  <a:schemeClr val="bg1"/>
                </a:solidFill>
              </a:defRPr>
            </a:lvl1pPr>
          </a:lstStyle>
          <a:p>
            <a:r>
              <a:rPr lang="fr-FR"/>
              <a:t>28/10/2022</a:t>
            </a:r>
          </a:p>
        </p:txBody>
      </p:sp>
      <p:sp>
        <p:nvSpPr>
          <p:cNvPr id="5" name="Espace réservé du pied de page 4">
            <a:extLst>
              <a:ext uri="{FF2B5EF4-FFF2-40B4-BE49-F238E27FC236}">
                <a16:creationId xmlns:a16="http://schemas.microsoft.com/office/drawing/2014/main" id="{ACD2F82D-AC61-B9F7-103B-D5B5DE390A6A}"/>
              </a:ext>
            </a:extLst>
          </p:cNvPr>
          <p:cNvSpPr>
            <a:spLocks noGrp="1"/>
          </p:cNvSpPr>
          <p:nvPr>
            <p:ph type="ftr" sz="quarter" idx="11"/>
          </p:nvPr>
        </p:nvSpPr>
        <p:spPr/>
        <p:txBody>
          <a:bodyPr/>
          <a:lstStyle>
            <a:lvl1pPr>
              <a:defRPr>
                <a:solidFill>
                  <a:schemeClr val="bg1"/>
                </a:solidFill>
              </a:defRPr>
            </a:lvl1pPr>
          </a:lstStyle>
          <a:p>
            <a:r>
              <a:rPr lang="fr-FR"/>
              <a:t>Exemple de pied de page (A modifier dans l'onglet "Insertion"/"En-tête/Pied"</a:t>
            </a:r>
          </a:p>
        </p:txBody>
      </p:sp>
      <p:sp>
        <p:nvSpPr>
          <p:cNvPr id="6" name="Espace réservé du numéro de diapositive 5">
            <a:extLst>
              <a:ext uri="{FF2B5EF4-FFF2-40B4-BE49-F238E27FC236}">
                <a16:creationId xmlns:a16="http://schemas.microsoft.com/office/drawing/2014/main" id="{38DBE8A5-A5C2-8825-ACF1-34BE5DCD04B0}"/>
              </a:ext>
            </a:extLst>
          </p:cNvPr>
          <p:cNvSpPr>
            <a:spLocks noGrp="1"/>
          </p:cNvSpPr>
          <p:nvPr>
            <p:ph type="sldNum" sz="quarter" idx="12"/>
          </p:nvPr>
        </p:nvSpPr>
        <p:spPr/>
        <p:txBody>
          <a:bodyPr/>
          <a:lstStyle>
            <a:lvl1pPr>
              <a:defRPr>
                <a:solidFill>
                  <a:schemeClr val="bg1"/>
                </a:solidFill>
              </a:defRPr>
            </a:lvl1pPr>
          </a:lstStyle>
          <a:p>
            <a:fld id="{0CBC77A0-1F4E-42FF-9FFC-F45C3A64AF90}" type="slidenum">
              <a:rPr lang="fr-FR" smtClean="0"/>
              <a:pPr/>
              <a:t>‹Nr.›</a:t>
            </a:fld>
            <a:endParaRPr lang="fr-FR"/>
          </a:p>
        </p:txBody>
      </p:sp>
      <p:sp>
        <p:nvSpPr>
          <p:cNvPr id="24" name="Espace réservé du texte 2">
            <a:extLst>
              <a:ext uri="{FF2B5EF4-FFF2-40B4-BE49-F238E27FC236}">
                <a16:creationId xmlns:a16="http://schemas.microsoft.com/office/drawing/2014/main" id="{CE5019BD-FEE2-4904-8DD7-C35C97AA3BF4}"/>
              </a:ext>
            </a:extLst>
          </p:cNvPr>
          <p:cNvSpPr>
            <a:spLocks noGrp="1"/>
          </p:cNvSpPr>
          <p:nvPr>
            <p:ph type="body" idx="13" hasCustomPrompt="1"/>
          </p:nvPr>
        </p:nvSpPr>
        <p:spPr>
          <a:xfrm>
            <a:off x="391716" y="1619250"/>
            <a:ext cx="1909763" cy="2005013"/>
          </a:xfrm>
        </p:spPr>
        <p:txBody>
          <a:bodyPr anchor="b">
            <a:noAutofit/>
          </a:bodyPr>
          <a:lstStyle>
            <a:lvl1pPr marL="0" indent="0" algn="r">
              <a:buNone/>
              <a:defRPr sz="10125">
                <a:solidFill>
                  <a:schemeClr val="bg1"/>
                </a:solidFill>
                <a:latin typeface="+mj-lt"/>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dirty="0"/>
              <a:t>0</a:t>
            </a:r>
          </a:p>
        </p:txBody>
      </p:sp>
      <p:sp>
        <p:nvSpPr>
          <p:cNvPr id="25" name="Rectangle 24">
            <a:extLst>
              <a:ext uri="{FF2B5EF4-FFF2-40B4-BE49-F238E27FC236}">
                <a16:creationId xmlns:a16="http://schemas.microsoft.com/office/drawing/2014/main" id="{2E988CD6-F875-5F20-CB25-53D3006C5582}"/>
              </a:ext>
            </a:extLst>
          </p:cNvPr>
          <p:cNvSpPr/>
          <p:nvPr userDrawn="1"/>
        </p:nvSpPr>
        <p:spPr>
          <a:xfrm>
            <a:off x="2363392" y="2990850"/>
            <a:ext cx="261938" cy="2619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29" name="ZoneTexte 28">
            <a:extLst>
              <a:ext uri="{FF2B5EF4-FFF2-40B4-BE49-F238E27FC236}">
                <a16:creationId xmlns:a16="http://schemas.microsoft.com/office/drawing/2014/main" id="{BC10BA36-642C-D18A-73B5-1652743A0484}"/>
              </a:ext>
            </a:extLst>
          </p:cNvPr>
          <p:cNvSpPr txBox="1"/>
          <p:nvPr userDrawn="1"/>
        </p:nvSpPr>
        <p:spPr>
          <a:xfrm>
            <a:off x="-76200" y="-207749"/>
            <a:ext cx="9144000" cy="230832"/>
          </a:xfrm>
          <a:prstGeom prst="rect">
            <a:avLst/>
          </a:prstGeom>
          <a:noFill/>
        </p:spPr>
        <p:txBody>
          <a:bodyPr wrap="square" rtlCol="0">
            <a:spAutoFit/>
          </a:bodyPr>
          <a:lstStyle/>
          <a:p>
            <a:r>
              <a:rPr lang="fr-FR" sz="900" dirty="0">
                <a:solidFill>
                  <a:schemeClr val="bg1">
                    <a:lumMod val="50000"/>
                  </a:schemeClr>
                </a:solidFill>
              </a:rPr>
              <a:t>Disposition : Titre de section</a:t>
            </a:r>
          </a:p>
        </p:txBody>
      </p:sp>
      <p:pic>
        <p:nvPicPr>
          <p:cNvPr id="26" name="PATTERN 14">
            <a:extLst>
              <a:ext uri="{FF2B5EF4-FFF2-40B4-BE49-F238E27FC236}">
                <a16:creationId xmlns:a16="http://schemas.microsoft.com/office/drawing/2014/main" id="{A9F2846A-9310-83E8-0175-AEDB4CD521B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642" t="81597" r="4284" b="-1066"/>
          <a:stretch/>
        </p:blipFill>
        <p:spPr>
          <a:xfrm>
            <a:off x="0" y="0"/>
            <a:ext cx="9144001" cy="443889"/>
          </a:xfrm>
          <a:prstGeom prst="rect">
            <a:avLst/>
          </a:prstGeom>
        </p:spPr>
      </p:pic>
      <p:grpSp>
        <p:nvGrpSpPr>
          <p:cNvPr id="27" name="Group 12">
            <a:extLst>
              <a:ext uri="{FF2B5EF4-FFF2-40B4-BE49-F238E27FC236}">
                <a16:creationId xmlns:a16="http://schemas.microsoft.com/office/drawing/2014/main" id="{DFC7A27D-F544-3847-F87B-0DF45C44C0D3}"/>
              </a:ext>
            </a:extLst>
          </p:cNvPr>
          <p:cNvGrpSpPr>
            <a:grpSpLocks noChangeAspect="1"/>
          </p:cNvGrpSpPr>
          <p:nvPr userDrawn="1"/>
        </p:nvGrpSpPr>
        <p:grpSpPr bwMode="auto">
          <a:xfrm>
            <a:off x="200145" y="4757738"/>
            <a:ext cx="237530" cy="237530"/>
            <a:chOff x="461" y="3861"/>
            <a:chExt cx="304" cy="304"/>
          </a:xfrm>
        </p:grpSpPr>
        <p:sp>
          <p:nvSpPr>
            <p:cNvPr id="28" name="AutoShape 11">
              <a:extLst>
                <a:ext uri="{FF2B5EF4-FFF2-40B4-BE49-F238E27FC236}">
                  <a16:creationId xmlns:a16="http://schemas.microsoft.com/office/drawing/2014/main" id="{C581EC54-E4C7-2B85-765F-226E90ED37F9}"/>
                </a:ext>
              </a:extLst>
            </p:cNvPr>
            <p:cNvSpPr>
              <a:spLocks noChangeAspect="1" noChangeArrowheads="1" noTextEdit="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0" name="Rectangle 13">
              <a:extLst>
                <a:ext uri="{FF2B5EF4-FFF2-40B4-BE49-F238E27FC236}">
                  <a16:creationId xmlns:a16="http://schemas.microsoft.com/office/drawing/2014/main" id="{024FFC00-E238-123D-8547-D317547D5C21}"/>
                </a:ext>
              </a:extLst>
            </p:cNvPr>
            <p:cNvSpPr>
              <a:spLocks noChangeArrowheads="1"/>
            </p:cNvSpPr>
            <p:nvPr userDrawn="1"/>
          </p:nvSpPr>
          <p:spPr bwMode="auto">
            <a:xfrm>
              <a:off x="461" y="3861"/>
              <a:ext cx="304" cy="3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1" name="Rectangle 14">
              <a:extLst>
                <a:ext uri="{FF2B5EF4-FFF2-40B4-BE49-F238E27FC236}">
                  <a16:creationId xmlns:a16="http://schemas.microsoft.com/office/drawing/2014/main" id="{26FC7AA9-98AE-CF10-6510-FBB15BB6F6AD}"/>
                </a:ext>
              </a:extLst>
            </p:cNvPr>
            <p:cNvSpPr>
              <a:spLocks noChangeArrowheads="1"/>
            </p:cNvSpPr>
            <p:nvPr userDrawn="1"/>
          </p:nvSpPr>
          <p:spPr bwMode="auto">
            <a:xfrm>
              <a:off x="461" y="3861"/>
              <a:ext cx="304"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3" name="Freeform 15">
              <a:extLst>
                <a:ext uri="{FF2B5EF4-FFF2-40B4-BE49-F238E27FC236}">
                  <a16:creationId xmlns:a16="http://schemas.microsoft.com/office/drawing/2014/main" id="{485E328D-5058-4023-75AE-4DF8C1BAEBCA}"/>
                </a:ext>
              </a:extLst>
            </p:cNvPr>
            <p:cNvSpPr>
              <a:spLocks noEditPoints="1"/>
            </p:cNvSpPr>
            <p:nvPr userDrawn="1"/>
          </p:nvSpPr>
          <p:spPr bwMode="auto">
            <a:xfrm>
              <a:off x="518" y="3962"/>
              <a:ext cx="189" cy="72"/>
            </a:xfrm>
            <a:custGeom>
              <a:avLst/>
              <a:gdLst>
                <a:gd name="T0" fmla="*/ 498 w 498"/>
                <a:gd name="T1" fmla="*/ 96 h 190"/>
                <a:gd name="T2" fmla="*/ 415 w 498"/>
                <a:gd name="T3" fmla="*/ 0 h 190"/>
                <a:gd name="T4" fmla="*/ 350 w 498"/>
                <a:gd name="T5" fmla="*/ 13 h 190"/>
                <a:gd name="T6" fmla="*/ 348 w 498"/>
                <a:gd name="T7" fmla="*/ 37 h 190"/>
                <a:gd name="T8" fmla="*/ 413 w 498"/>
                <a:gd name="T9" fmla="*/ 21 h 190"/>
                <a:gd name="T10" fmla="*/ 463 w 498"/>
                <a:gd name="T11" fmla="*/ 43 h 190"/>
                <a:gd name="T12" fmla="*/ 335 w 498"/>
                <a:gd name="T13" fmla="*/ 141 h 190"/>
                <a:gd name="T14" fmla="*/ 252 w 498"/>
                <a:gd name="T15" fmla="*/ 169 h 190"/>
                <a:gd name="T16" fmla="*/ 199 w 498"/>
                <a:gd name="T17" fmla="*/ 147 h 190"/>
                <a:gd name="T18" fmla="*/ 320 w 498"/>
                <a:gd name="T19" fmla="*/ 34 h 190"/>
                <a:gd name="T20" fmla="*/ 251 w 498"/>
                <a:gd name="T21" fmla="*/ 0 h 190"/>
                <a:gd name="T22" fmla="*/ 188 w 498"/>
                <a:gd name="T23" fmla="*/ 24 h 190"/>
                <a:gd name="T24" fmla="*/ 165 w 498"/>
                <a:gd name="T25" fmla="*/ 98 h 190"/>
                <a:gd name="T26" fmla="*/ 173 w 498"/>
                <a:gd name="T27" fmla="*/ 140 h 190"/>
                <a:gd name="T28" fmla="*/ 85 w 498"/>
                <a:gd name="T29" fmla="*/ 169 h 190"/>
                <a:gd name="T30" fmla="*/ 19 w 498"/>
                <a:gd name="T31" fmla="*/ 95 h 190"/>
                <a:gd name="T32" fmla="*/ 85 w 498"/>
                <a:gd name="T33" fmla="*/ 21 h 190"/>
                <a:gd name="T34" fmla="*/ 150 w 498"/>
                <a:gd name="T35" fmla="*/ 37 h 190"/>
                <a:gd name="T36" fmla="*/ 148 w 498"/>
                <a:gd name="T37" fmla="*/ 13 h 190"/>
                <a:gd name="T38" fmla="*/ 87 w 498"/>
                <a:gd name="T39" fmla="*/ 0 h 190"/>
                <a:gd name="T40" fmla="*/ 0 w 498"/>
                <a:gd name="T41" fmla="*/ 95 h 190"/>
                <a:gd name="T42" fmla="*/ 86 w 498"/>
                <a:gd name="T43" fmla="*/ 190 h 190"/>
                <a:gd name="T44" fmla="*/ 182 w 498"/>
                <a:gd name="T45" fmla="*/ 159 h 190"/>
                <a:gd name="T46" fmla="*/ 251 w 498"/>
                <a:gd name="T47" fmla="*/ 190 h 190"/>
                <a:gd name="T48" fmla="*/ 338 w 498"/>
                <a:gd name="T49" fmla="*/ 164 h 190"/>
                <a:gd name="T50" fmla="*/ 411 w 498"/>
                <a:gd name="T51" fmla="*/ 190 h 190"/>
                <a:gd name="T52" fmla="*/ 477 w 498"/>
                <a:gd name="T53" fmla="*/ 163 h 190"/>
                <a:gd name="T54" fmla="*/ 478 w 498"/>
                <a:gd name="T55" fmla="*/ 185 h 190"/>
                <a:gd name="T56" fmla="*/ 498 w 498"/>
                <a:gd name="T57" fmla="*/ 189 h 190"/>
                <a:gd name="T58" fmla="*/ 498 w 498"/>
                <a:gd name="T59" fmla="*/ 96 h 190"/>
                <a:gd name="T60" fmla="*/ 184 w 498"/>
                <a:gd name="T61" fmla="*/ 107 h 190"/>
                <a:gd name="T62" fmla="*/ 201 w 498"/>
                <a:gd name="T63" fmla="*/ 39 h 190"/>
                <a:gd name="T64" fmla="*/ 251 w 498"/>
                <a:gd name="T65" fmla="*/ 19 h 190"/>
                <a:gd name="T66" fmla="*/ 297 w 498"/>
                <a:gd name="T67" fmla="*/ 37 h 190"/>
                <a:gd name="T68" fmla="*/ 261 w 498"/>
                <a:gd name="T69" fmla="*/ 78 h 190"/>
                <a:gd name="T70" fmla="*/ 190 w 498"/>
                <a:gd name="T71" fmla="*/ 128 h 190"/>
                <a:gd name="T72" fmla="*/ 184 w 498"/>
                <a:gd name="T73" fmla="*/ 107 h 190"/>
                <a:gd name="T74" fmla="*/ 462 w 498"/>
                <a:gd name="T75" fmla="*/ 151 h 190"/>
                <a:gd name="T76" fmla="*/ 411 w 498"/>
                <a:gd name="T77" fmla="*/ 170 h 190"/>
                <a:gd name="T78" fmla="*/ 356 w 498"/>
                <a:gd name="T79" fmla="*/ 151 h 190"/>
                <a:gd name="T80" fmla="*/ 472 w 498"/>
                <a:gd name="T81" fmla="*/ 60 h 190"/>
                <a:gd name="T82" fmla="*/ 479 w 498"/>
                <a:gd name="T83" fmla="*/ 83 h 190"/>
                <a:gd name="T84" fmla="*/ 462 w 498"/>
                <a:gd name="T85" fmla="*/ 15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8" h="190">
                  <a:moveTo>
                    <a:pt x="498" y="96"/>
                  </a:moveTo>
                  <a:cubicBezTo>
                    <a:pt x="498" y="6"/>
                    <a:pt x="430" y="0"/>
                    <a:pt x="415" y="0"/>
                  </a:cubicBezTo>
                  <a:cubicBezTo>
                    <a:pt x="393" y="0"/>
                    <a:pt x="372" y="4"/>
                    <a:pt x="350" y="13"/>
                  </a:cubicBezTo>
                  <a:cubicBezTo>
                    <a:pt x="348" y="37"/>
                    <a:pt x="348" y="37"/>
                    <a:pt x="348" y="37"/>
                  </a:cubicBezTo>
                  <a:cubicBezTo>
                    <a:pt x="357" y="33"/>
                    <a:pt x="385" y="21"/>
                    <a:pt x="413" y="21"/>
                  </a:cubicBezTo>
                  <a:cubicBezTo>
                    <a:pt x="435" y="21"/>
                    <a:pt x="452" y="28"/>
                    <a:pt x="463" y="43"/>
                  </a:cubicBezTo>
                  <a:cubicBezTo>
                    <a:pt x="387" y="82"/>
                    <a:pt x="342" y="114"/>
                    <a:pt x="335" y="141"/>
                  </a:cubicBezTo>
                  <a:cubicBezTo>
                    <a:pt x="316" y="154"/>
                    <a:pt x="282" y="169"/>
                    <a:pt x="252" y="169"/>
                  </a:cubicBezTo>
                  <a:cubicBezTo>
                    <a:pt x="219" y="169"/>
                    <a:pt x="205" y="155"/>
                    <a:pt x="199" y="147"/>
                  </a:cubicBezTo>
                  <a:cubicBezTo>
                    <a:pt x="282" y="91"/>
                    <a:pt x="325" y="59"/>
                    <a:pt x="320" y="34"/>
                  </a:cubicBezTo>
                  <a:cubicBezTo>
                    <a:pt x="315" y="11"/>
                    <a:pt x="281" y="0"/>
                    <a:pt x="251" y="0"/>
                  </a:cubicBezTo>
                  <a:cubicBezTo>
                    <a:pt x="219" y="0"/>
                    <a:pt x="198" y="13"/>
                    <a:pt x="188" y="24"/>
                  </a:cubicBezTo>
                  <a:cubicBezTo>
                    <a:pt x="172" y="41"/>
                    <a:pt x="164" y="66"/>
                    <a:pt x="165" y="98"/>
                  </a:cubicBezTo>
                  <a:cubicBezTo>
                    <a:pt x="165" y="112"/>
                    <a:pt x="168" y="127"/>
                    <a:pt x="173" y="140"/>
                  </a:cubicBezTo>
                  <a:cubicBezTo>
                    <a:pt x="160" y="148"/>
                    <a:pt x="125" y="169"/>
                    <a:pt x="85" y="169"/>
                  </a:cubicBezTo>
                  <a:cubicBezTo>
                    <a:pt x="38" y="169"/>
                    <a:pt x="19" y="132"/>
                    <a:pt x="19" y="95"/>
                  </a:cubicBezTo>
                  <a:cubicBezTo>
                    <a:pt x="19" y="59"/>
                    <a:pt x="37" y="21"/>
                    <a:pt x="85" y="21"/>
                  </a:cubicBezTo>
                  <a:cubicBezTo>
                    <a:pt x="113" y="21"/>
                    <a:pt x="140" y="32"/>
                    <a:pt x="150" y="37"/>
                  </a:cubicBezTo>
                  <a:cubicBezTo>
                    <a:pt x="148" y="13"/>
                    <a:pt x="148" y="13"/>
                    <a:pt x="148" y="13"/>
                  </a:cubicBezTo>
                  <a:cubicBezTo>
                    <a:pt x="130" y="6"/>
                    <a:pt x="107" y="0"/>
                    <a:pt x="87" y="0"/>
                  </a:cubicBezTo>
                  <a:cubicBezTo>
                    <a:pt x="7" y="0"/>
                    <a:pt x="0" y="67"/>
                    <a:pt x="0" y="95"/>
                  </a:cubicBezTo>
                  <a:cubicBezTo>
                    <a:pt x="0" y="122"/>
                    <a:pt x="7" y="190"/>
                    <a:pt x="86" y="190"/>
                  </a:cubicBezTo>
                  <a:cubicBezTo>
                    <a:pt x="134" y="190"/>
                    <a:pt x="175" y="164"/>
                    <a:pt x="182" y="159"/>
                  </a:cubicBezTo>
                  <a:cubicBezTo>
                    <a:pt x="187" y="168"/>
                    <a:pt x="208" y="190"/>
                    <a:pt x="251" y="190"/>
                  </a:cubicBezTo>
                  <a:cubicBezTo>
                    <a:pt x="286" y="190"/>
                    <a:pt x="325" y="173"/>
                    <a:pt x="338" y="164"/>
                  </a:cubicBezTo>
                  <a:cubicBezTo>
                    <a:pt x="346" y="175"/>
                    <a:pt x="362" y="190"/>
                    <a:pt x="411" y="190"/>
                  </a:cubicBezTo>
                  <a:cubicBezTo>
                    <a:pt x="444" y="190"/>
                    <a:pt x="464" y="179"/>
                    <a:pt x="477" y="163"/>
                  </a:cubicBezTo>
                  <a:cubicBezTo>
                    <a:pt x="477" y="171"/>
                    <a:pt x="478" y="179"/>
                    <a:pt x="478" y="185"/>
                  </a:cubicBezTo>
                  <a:cubicBezTo>
                    <a:pt x="498" y="189"/>
                    <a:pt x="498" y="189"/>
                    <a:pt x="498" y="189"/>
                  </a:cubicBezTo>
                  <a:cubicBezTo>
                    <a:pt x="497" y="168"/>
                    <a:pt x="498" y="97"/>
                    <a:pt x="498" y="96"/>
                  </a:cubicBezTo>
                  <a:moveTo>
                    <a:pt x="184" y="107"/>
                  </a:moveTo>
                  <a:cubicBezTo>
                    <a:pt x="184" y="107"/>
                    <a:pt x="178" y="65"/>
                    <a:pt x="201" y="39"/>
                  </a:cubicBezTo>
                  <a:cubicBezTo>
                    <a:pt x="212" y="26"/>
                    <a:pt x="229" y="19"/>
                    <a:pt x="251" y="19"/>
                  </a:cubicBezTo>
                  <a:cubicBezTo>
                    <a:pt x="275" y="19"/>
                    <a:pt x="295" y="28"/>
                    <a:pt x="297" y="37"/>
                  </a:cubicBezTo>
                  <a:cubicBezTo>
                    <a:pt x="299" y="44"/>
                    <a:pt x="292" y="53"/>
                    <a:pt x="261" y="78"/>
                  </a:cubicBezTo>
                  <a:cubicBezTo>
                    <a:pt x="261" y="78"/>
                    <a:pt x="230" y="105"/>
                    <a:pt x="190" y="128"/>
                  </a:cubicBezTo>
                  <a:cubicBezTo>
                    <a:pt x="187" y="122"/>
                    <a:pt x="185" y="115"/>
                    <a:pt x="184" y="107"/>
                  </a:cubicBezTo>
                  <a:moveTo>
                    <a:pt x="462" y="151"/>
                  </a:moveTo>
                  <a:cubicBezTo>
                    <a:pt x="450" y="164"/>
                    <a:pt x="433" y="170"/>
                    <a:pt x="411" y="170"/>
                  </a:cubicBezTo>
                  <a:cubicBezTo>
                    <a:pt x="361" y="170"/>
                    <a:pt x="356" y="151"/>
                    <a:pt x="356" y="151"/>
                  </a:cubicBezTo>
                  <a:cubicBezTo>
                    <a:pt x="350" y="140"/>
                    <a:pt x="367" y="116"/>
                    <a:pt x="472" y="60"/>
                  </a:cubicBezTo>
                  <a:cubicBezTo>
                    <a:pt x="475" y="67"/>
                    <a:pt x="477" y="75"/>
                    <a:pt x="479" y="83"/>
                  </a:cubicBezTo>
                  <a:cubicBezTo>
                    <a:pt x="479" y="83"/>
                    <a:pt x="484" y="125"/>
                    <a:pt x="462" y="151"/>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4" name="Rectangle 16">
              <a:extLst>
                <a:ext uri="{FF2B5EF4-FFF2-40B4-BE49-F238E27FC236}">
                  <a16:creationId xmlns:a16="http://schemas.microsoft.com/office/drawing/2014/main" id="{B32124BB-315A-4642-3185-D0F09F05E9F3}"/>
                </a:ext>
              </a:extLst>
            </p:cNvPr>
            <p:cNvSpPr>
              <a:spLocks noChangeArrowheads="1"/>
            </p:cNvSpPr>
            <p:nvPr userDrawn="1"/>
          </p:nvSpPr>
          <p:spPr bwMode="auto">
            <a:xfrm>
              <a:off x="526" y="4057"/>
              <a:ext cx="174" cy="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sp>
          <p:nvSpPr>
            <p:cNvPr id="35" name="Rectangle 17">
              <a:extLst>
                <a:ext uri="{FF2B5EF4-FFF2-40B4-BE49-F238E27FC236}">
                  <a16:creationId xmlns:a16="http://schemas.microsoft.com/office/drawing/2014/main" id="{283D2C2C-F437-0747-2745-E4E3B6D20760}"/>
                </a:ext>
              </a:extLst>
            </p:cNvPr>
            <p:cNvSpPr>
              <a:spLocks noChangeArrowheads="1"/>
            </p:cNvSpPr>
            <p:nvPr userDrawn="1"/>
          </p:nvSpPr>
          <p:spPr bwMode="auto">
            <a:xfrm>
              <a:off x="526" y="4057"/>
              <a:ext cx="174" cy="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fr-FR" sz="1350"/>
            </a:p>
          </p:txBody>
        </p:sp>
      </p:grpSp>
    </p:spTree>
    <p:extLst>
      <p:ext uri="{BB962C8B-B14F-4D97-AF65-F5344CB8AC3E}">
        <p14:creationId xmlns:p14="http://schemas.microsoft.com/office/powerpoint/2010/main" val="8998869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270000" y="243000"/>
            <a:ext cx="8586788" cy="843585"/>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270000" y="1172358"/>
            <a:ext cx="8586788" cy="3160691"/>
          </a:xfrm>
        </p:spPr>
        <p:txBody>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142871" y="4914546"/>
            <a:ext cx="2190170" cy="357504"/>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4362918" y="4918323"/>
            <a:ext cx="540000" cy="165832"/>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F0FEB314-58C6-43FB-BF57-07B357AFA15D}"/>
              </a:ext>
            </a:extLst>
          </p:cNvPr>
          <p:cNvSpPr>
            <a:spLocks noGrp="1"/>
          </p:cNvSpPr>
          <p:nvPr>
            <p:ph type="body" sz="quarter" idx="15" hasCustomPrompt="1"/>
          </p:nvPr>
        </p:nvSpPr>
        <p:spPr>
          <a:xfrm>
            <a:off x="269081" y="704089"/>
            <a:ext cx="8586787" cy="382496"/>
          </a:xfrm>
        </p:spPr>
        <p:txBody>
          <a:bodyPr/>
          <a:lstStyle>
            <a:lvl1pPr marL="0" indent="0">
              <a:lnSpc>
                <a:spcPct val="114000"/>
              </a:lnSpc>
              <a:spcAft>
                <a:spcPts val="0"/>
              </a:spcAft>
              <a:buNone/>
              <a:defRPr sz="135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8264852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el und Inhalt (klein)">
    <p:spTree>
      <p:nvGrpSpPr>
        <p:cNvPr id="1" name=""/>
        <p:cNvGrpSpPr/>
        <p:nvPr/>
      </p:nvGrpSpPr>
      <p:grpSpPr>
        <a:xfrm>
          <a:off x="0" y="0"/>
          <a:ext cx="0" cy="0"/>
          <a:chOff x="0" y="0"/>
          <a:chExt cx="0" cy="0"/>
        </a:xfrm>
      </p:grpSpPr>
      <p:sp>
        <p:nvSpPr>
          <p:cNvPr id="2" name="Title 1"/>
          <p:cNvSpPr>
            <a:spLocks noGrp="1"/>
          </p:cNvSpPr>
          <p:nvPr>
            <p:ph type="title"/>
          </p:nvPr>
        </p:nvSpPr>
        <p:spPr>
          <a:xfrm>
            <a:off x="270000" y="243000"/>
            <a:ext cx="8586788" cy="843585"/>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3" name="Content Placeholder 2"/>
          <p:cNvSpPr>
            <a:spLocks noGrp="1"/>
          </p:cNvSpPr>
          <p:nvPr>
            <p:ph idx="1"/>
          </p:nvPr>
        </p:nvSpPr>
        <p:spPr>
          <a:xfrm>
            <a:off x="270000" y="1183732"/>
            <a:ext cx="8586788" cy="3143000"/>
          </a:xfrm>
        </p:spPr>
        <p:txBody>
          <a:bodyPr/>
          <a:lstStyle>
            <a:lvl1pPr marL="133350" indent="-133350">
              <a:defRPr sz="1350"/>
            </a:lvl1pPr>
            <a:lvl2pPr marL="271463" indent="-138113">
              <a:defRPr sz="1350"/>
            </a:lvl2pPr>
            <a:lvl3pPr marL="404813" indent="-133350">
              <a:defRPr sz="1350"/>
            </a:lvl3pPr>
            <a:lvl4pPr marL="538163" indent="-133350">
              <a:defRPr sz="1350"/>
            </a:lvl4pPr>
            <a:lvl5pPr marL="671513" indent="-133350">
              <a:defRPr sz="1350"/>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7" name="Datumsplatzhalter 16">
            <a:extLst>
              <a:ext uri="{FF2B5EF4-FFF2-40B4-BE49-F238E27FC236}">
                <a16:creationId xmlns:a16="http://schemas.microsoft.com/office/drawing/2014/main" id="{8D88C6F8-099A-4D39-8533-B1EEB7F052D4}"/>
              </a:ext>
            </a:extLst>
          </p:cNvPr>
          <p:cNvSpPr>
            <a:spLocks noGrp="1"/>
          </p:cNvSpPr>
          <p:nvPr>
            <p:ph type="dt" sz="half" idx="13"/>
          </p:nvPr>
        </p:nvSpPr>
        <p:spPr>
          <a:xfrm>
            <a:off x="2142871" y="4914546"/>
            <a:ext cx="2190170" cy="357504"/>
          </a:xfrm>
          <a:prstGeom prst="rect">
            <a:avLst/>
          </a:prstGeom>
        </p:spPr>
        <p:txBody>
          <a:bodyPr/>
          <a:lstStyle/>
          <a:p>
            <a:r>
              <a:rPr lang="en-US"/>
              <a:t>W-Div Engineering Meeting 14.11.2023</a:t>
            </a:r>
            <a:endParaRPr lang="de-DE" dirty="0"/>
          </a:p>
        </p:txBody>
      </p:sp>
      <p:sp>
        <p:nvSpPr>
          <p:cNvPr id="18" name="Foliennummernplatzhalter 17">
            <a:extLst>
              <a:ext uri="{FF2B5EF4-FFF2-40B4-BE49-F238E27FC236}">
                <a16:creationId xmlns:a16="http://schemas.microsoft.com/office/drawing/2014/main" id="{BFF90422-5EA9-49BF-B256-D3D2AA4EDCC9}"/>
              </a:ext>
            </a:extLst>
          </p:cNvPr>
          <p:cNvSpPr>
            <a:spLocks noGrp="1"/>
          </p:cNvSpPr>
          <p:nvPr>
            <p:ph type="sldNum" sz="quarter" idx="14"/>
          </p:nvPr>
        </p:nvSpPr>
        <p:spPr>
          <a:xfrm>
            <a:off x="4363718" y="4927467"/>
            <a:ext cx="540000" cy="165832"/>
          </a:xfrm>
          <a:prstGeom prst="rect">
            <a:avLst/>
          </a:prstGeom>
        </p:spPr>
        <p:txBody>
          <a:bodyPr/>
          <a:lstStyle/>
          <a:p>
            <a:r>
              <a:rPr lang="de-DE" dirty="0"/>
              <a:t>Slide </a:t>
            </a:r>
            <a:fld id="{A52F4D17-1AD6-42D9-B93A-EB002C62F438}" type="slidenum">
              <a:rPr lang="de-DE" smtClean="0"/>
              <a:pPr/>
              <a:t>‹Nr.›</a:t>
            </a:fld>
            <a:endParaRPr lang="de-DE" dirty="0"/>
          </a:p>
        </p:txBody>
      </p:sp>
      <p:sp>
        <p:nvSpPr>
          <p:cNvPr id="7" name="Textplatzhalter 10">
            <a:extLst>
              <a:ext uri="{FF2B5EF4-FFF2-40B4-BE49-F238E27FC236}">
                <a16:creationId xmlns:a16="http://schemas.microsoft.com/office/drawing/2014/main" id="{29624FD4-E8F5-4C76-8AB0-019D7FCEAADC}"/>
              </a:ext>
            </a:extLst>
          </p:cNvPr>
          <p:cNvSpPr>
            <a:spLocks noGrp="1"/>
          </p:cNvSpPr>
          <p:nvPr>
            <p:ph type="body" sz="quarter" idx="15" hasCustomPrompt="1"/>
          </p:nvPr>
        </p:nvSpPr>
        <p:spPr>
          <a:xfrm>
            <a:off x="269081" y="704089"/>
            <a:ext cx="8586787" cy="382496"/>
          </a:xfrm>
        </p:spPr>
        <p:txBody>
          <a:bodyPr/>
          <a:lstStyle>
            <a:lvl1pPr marL="0" indent="0">
              <a:lnSpc>
                <a:spcPct val="114000"/>
              </a:lnSpc>
              <a:spcAft>
                <a:spcPts val="0"/>
              </a:spcAft>
              <a:buNone/>
              <a:defRPr sz="135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242275068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le 1"/>
          <p:cNvSpPr>
            <a:spLocks noGrp="1"/>
          </p:cNvSpPr>
          <p:nvPr>
            <p:ph type="title"/>
          </p:nvPr>
        </p:nvSpPr>
        <p:spPr>
          <a:xfrm>
            <a:off x="270000" y="243000"/>
            <a:ext cx="8586788" cy="843585"/>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6" name="Datumsplatzhalter 5">
            <a:extLst>
              <a:ext uri="{FF2B5EF4-FFF2-40B4-BE49-F238E27FC236}">
                <a16:creationId xmlns:a16="http://schemas.microsoft.com/office/drawing/2014/main" id="{4283517E-5B20-4272-8660-1A906CDE614E}"/>
              </a:ext>
            </a:extLst>
          </p:cNvPr>
          <p:cNvSpPr>
            <a:spLocks noGrp="1"/>
          </p:cNvSpPr>
          <p:nvPr>
            <p:ph type="dt" sz="half" idx="10"/>
          </p:nvPr>
        </p:nvSpPr>
        <p:spPr>
          <a:xfrm>
            <a:off x="2142871" y="4914546"/>
            <a:ext cx="2190170" cy="357504"/>
          </a:xfrm>
          <a:prstGeom prst="rect">
            <a:avLst/>
          </a:prstGeom>
        </p:spPr>
        <p:txBody>
          <a:bodyPr/>
          <a:lstStyle/>
          <a:p>
            <a:r>
              <a:rPr lang="en-US"/>
              <a:t>W-Div Engineering Meeting 14.11.2023</a:t>
            </a:r>
            <a:endParaRPr lang="de-DE"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4363718" y="4927467"/>
            <a:ext cx="540000" cy="165832"/>
          </a:xfrm>
          <a:prstGeom prst="rect">
            <a:avLst/>
          </a:prstGeom>
        </p:spPr>
        <p:txBody>
          <a:bodyPr/>
          <a:lstStyle/>
          <a:p>
            <a:r>
              <a:rPr lang="de-DE" dirty="0"/>
              <a:t>Slide </a:t>
            </a:r>
            <a:fld id="{A52F4D17-1AD6-42D9-B93A-EB002C62F438}" type="slidenum">
              <a:rPr lang="de-DE" smtClean="0"/>
              <a:pPr/>
              <a:t>‹Nr.›</a:t>
            </a:fld>
            <a:endParaRPr lang="de-DE" dirty="0"/>
          </a:p>
        </p:txBody>
      </p:sp>
      <p:sp>
        <p:nvSpPr>
          <p:cNvPr id="10" name="Bildplatzhalter 4">
            <a:extLst>
              <a:ext uri="{FF2B5EF4-FFF2-40B4-BE49-F238E27FC236}">
                <a16:creationId xmlns:a16="http://schemas.microsoft.com/office/drawing/2014/main" id="{8A00DEAD-5DE0-4EC4-9106-51A82A9A04E7}"/>
              </a:ext>
            </a:extLst>
          </p:cNvPr>
          <p:cNvSpPr>
            <a:spLocks noGrp="1"/>
          </p:cNvSpPr>
          <p:nvPr>
            <p:ph type="pic" sz="quarter" idx="13"/>
          </p:nvPr>
        </p:nvSpPr>
        <p:spPr>
          <a:xfrm>
            <a:off x="270000" y="1221582"/>
            <a:ext cx="4077890" cy="2376283"/>
          </a:xfrm>
          <a:solidFill>
            <a:schemeClr val="bg2"/>
          </a:solidFill>
        </p:spPr>
        <p:txBody>
          <a:bodyPr anchor="ctr"/>
          <a:lstStyle>
            <a:lvl1pPr marL="0" indent="0" algn="ctr">
              <a:buNone/>
              <a:defRPr sz="1200">
                <a:solidFill>
                  <a:schemeClr val="tx1"/>
                </a:solidFill>
              </a:defRPr>
            </a:lvl1pPr>
          </a:lstStyle>
          <a:p>
            <a:r>
              <a:rPr lang="de-DE" dirty="0"/>
              <a:t>Bild durch Klicken auf Symbol hinzufügen</a:t>
            </a:r>
          </a:p>
        </p:txBody>
      </p:sp>
      <p:sp>
        <p:nvSpPr>
          <p:cNvPr id="4" name="Textplatzhalter 3">
            <a:extLst>
              <a:ext uri="{FF2B5EF4-FFF2-40B4-BE49-F238E27FC236}">
                <a16:creationId xmlns:a16="http://schemas.microsoft.com/office/drawing/2014/main" id="{A1A390F4-CC78-4ED1-8D50-5D59AE8D05BE}"/>
              </a:ext>
            </a:extLst>
          </p:cNvPr>
          <p:cNvSpPr>
            <a:spLocks noGrp="1"/>
          </p:cNvSpPr>
          <p:nvPr>
            <p:ph type="body" sz="quarter" idx="14" hasCustomPrompt="1"/>
          </p:nvPr>
        </p:nvSpPr>
        <p:spPr>
          <a:xfrm>
            <a:off x="270000" y="3675190"/>
            <a:ext cx="4077890" cy="651542"/>
          </a:xfrm>
        </p:spPr>
        <p:txBody>
          <a:bodyPr/>
          <a:lstStyle>
            <a:lvl1pPr marL="0" indent="0">
              <a:spcAft>
                <a:spcPts val="0"/>
              </a:spcAft>
              <a:buNone/>
              <a:defRPr sz="1350"/>
            </a:lvl1pPr>
          </a:lstStyle>
          <a:p>
            <a:pPr lvl="0"/>
            <a:r>
              <a:rPr lang="de-DE" dirty="0"/>
              <a:t>Bildunterschrift</a:t>
            </a:r>
          </a:p>
        </p:txBody>
      </p:sp>
      <p:sp>
        <p:nvSpPr>
          <p:cNvPr id="11" name="Bildplatzhalter 4">
            <a:extLst>
              <a:ext uri="{FF2B5EF4-FFF2-40B4-BE49-F238E27FC236}">
                <a16:creationId xmlns:a16="http://schemas.microsoft.com/office/drawing/2014/main" id="{23A5E56D-954A-4968-9BC8-DFAC877CAA16}"/>
              </a:ext>
            </a:extLst>
          </p:cNvPr>
          <p:cNvSpPr>
            <a:spLocks noGrp="1"/>
          </p:cNvSpPr>
          <p:nvPr>
            <p:ph type="pic" sz="quarter" idx="15"/>
          </p:nvPr>
        </p:nvSpPr>
        <p:spPr>
          <a:xfrm>
            <a:off x="4787504" y="1221582"/>
            <a:ext cx="4077890" cy="2376283"/>
          </a:xfrm>
          <a:solidFill>
            <a:schemeClr val="bg2"/>
          </a:solidFill>
        </p:spPr>
        <p:txBody>
          <a:bodyPr anchor="ctr"/>
          <a:lstStyle>
            <a:lvl1pPr marL="0" indent="0" algn="ctr">
              <a:buNone/>
              <a:defRPr sz="1200">
                <a:solidFill>
                  <a:schemeClr val="tx1"/>
                </a:solidFill>
              </a:defRPr>
            </a:lvl1pPr>
          </a:lstStyle>
          <a:p>
            <a:r>
              <a:rPr lang="de-DE"/>
              <a:t>Bild durch Klicken auf Symbol hinzufügen</a:t>
            </a:r>
            <a:endParaRPr lang="de-DE" dirty="0"/>
          </a:p>
        </p:txBody>
      </p:sp>
      <p:sp>
        <p:nvSpPr>
          <p:cNvPr id="12" name="Textplatzhalter 3">
            <a:extLst>
              <a:ext uri="{FF2B5EF4-FFF2-40B4-BE49-F238E27FC236}">
                <a16:creationId xmlns:a16="http://schemas.microsoft.com/office/drawing/2014/main" id="{1C326D2C-F758-4203-BE3D-8CDB8EB30941}"/>
              </a:ext>
            </a:extLst>
          </p:cNvPr>
          <p:cNvSpPr>
            <a:spLocks noGrp="1"/>
          </p:cNvSpPr>
          <p:nvPr>
            <p:ph type="body" sz="quarter" idx="16" hasCustomPrompt="1"/>
          </p:nvPr>
        </p:nvSpPr>
        <p:spPr>
          <a:xfrm>
            <a:off x="4787504" y="3675190"/>
            <a:ext cx="4077890" cy="651542"/>
          </a:xfrm>
        </p:spPr>
        <p:txBody>
          <a:bodyPr/>
          <a:lstStyle>
            <a:lvl1pPr marL="0" indent="0">
              <a:spcAft>
                <a:spcPts val="0"/>
              </a:spcAft>
              <a:buNone/>
              <a:defRPr sz="1350"/>
            </a:lvl1pPr>
          </a:lstStyle>
          <a:p>
            <a:pPr lvl="0"/>
            <a:r>
              <a:rPr lang="de-DE" dirty="0"/>
              <a:t>Bildunterschrift</a:t>
            </a:r>
          </a:p>
        </p:txBody>
      </p:sp>
      <p:sp>
        <p:nvSpPr>
          <p:cNvPr id="13" name="Textplatzhalter 10">
            <a:extLst>
              <a:ext uri="{FF2B5EF4-FFF2-40B4-BE49-F238E27FC236}">
                <a16:creationId xmlns:a16="http://schemas.microsoft.com/office/drawing/2014/main" id="{8D87DCD3-D230-4056-A20A-D9CBA549CE9C}"/>
              </a:ext>
            </a:extLst>
          </p:cNvPr>
          <p:cNvSpPr>
            <a:spLocks noGrp="1"/>
          </p:cNvSpPr>
          <p:nvPr>
            <p:ph type="body" sz="quarter" idx="17" hasCustomPrompt="1"/>
          </p:nvPr>
        </p:nvSpPr>
        <p:spPr>
          <a:xfrm>
            <a:off x="269081" y="704089"/>
            <a:ext cx="8586787" cy="382496"/>
          </a:xfrm>
        </p:spPr>
        <p:txBody>
          <a:bodyPr/>
          <a:lstStyle>
            <a:lvl1pPr marL="0" indent="0">
              <a:lnSpc>
                <a:spcPct val="114000"/>
              </a:lnSpc>
              <a:spcAft>
                <a:spcPts val="0"/>
              </a:spcAft>
              <a:buNone/>
              <a:defRPr sz="1350" b="1">
                <a:solidFill>
                  <a:schemeClr val="tx2"/>
                </a:solidFill>
              </a:defRPr>
            </a:lvl1pPr>
          </a:lstStyle>
          <a:p>
            <a:pPr lvl="0"/>
            <a:r>
              <a:rPr lang="de-DE" dirty="0" err="1"/>
              <a:t>Subline</a:t>
            </a:r>
            <a:endParaRPr lang="de-DE" dirty="0"/>
          </a:p>
        </p:txBody>
      </p:sp>
    </p:spTree>
    <p:extLst>
      <p:ext uri="{BB962C8B-B14F-4D97-AF65-F5344CB8AC3E}">
        <p14:creationId xmlns:p14="http://schemas.microsoft.com/office/powerpoint/2010/main" val="13282976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270000" y="243000"/>
            <a:ext cx="8586788" cy="843585"/>
          </a:xfrm>
        </p:spPr>
        <p:txBody>
          <a:bodyPr/>
          <a:lstStyle>
            <a:lvl1pPr>
              <a:defRPr cap="none" spc="0" baseline="0">
                <a:solidFill>
                  <a:schemeClr val="tx2"/>
                </a:solidFill>
              </a:defRPr>
            </a:lvl1pPr>
          </a:lstStyle>
          <a:p>
            <a:r>
              <a:rPr lang="de-DE" dirty="0"/>
              <a:t>Titelmasterformat durch Klicken bearbeiten</a:t>
            </a:r>
            <a:endParaRPr lang="en-US" dirty="0"/>
          </a:p>
        </p:txBody>
      </p:sp>
      <p:sp>
        <p:nvSpPr>
          <p:cNvPr id="7" name="Foliennummernplatzhalter 6">
            <a:extLst>
              <a:ext uri="{FF2B5EF4-FFF2-40B4-BE49-F238E27FC236}">
                <a16:creationId xmlns:a16="http://schemas.microsoft.com/office/drawing/2014/main" id="{6EFEBD5A-CDB1-411E-9184-7981E1A3047A}"/>
              </a:ext>
            </a:extLst>
          </p:cNvPr>
          <p:cNvSpPr>
            <a:spLocks noGrp="1"/>
          </p:cNvSpPr>
          <p:nvPr>
            <p:ph type="sldNum" sz="quarter" idx="11"/>
          </p:nvPr>
        </p:nvSpPr>
        <p:spPr>
          <a:xfrm>
            <a:off x="4363718" y="4927467"/>
            <a:ext cx="540000" cy="165832"/>
          </a:xfrm>
          <a:prstGeom prst="rect">
            <a:avLst/>
          </a:prstGeom>
        </p:spPr>
        <p:txBody>
          <a:bodyPr/>
          <a:lstStyle/>
          <a:p>
            <a:r>
              <a:rPr lang="de-DE" dirty="0"/>
              <a:t>Slide </a:t>
            </a:r>
            <a:fld id="{A52F4D17-1AD6-42D9-B93A-EB002C62F438}" type="slidenum">
              <a:rPr lang="de-DE" smtClean="0"/>
              <a:pPr/>
              <a:t>‹Nr.›</a:t>
            </a:fld>
            <a:endParaRPr lang="de-DE" dirty="0"/>
          </a:p>
        </p:txBody>
      </p:sp>
      <p:sp>
        <p:nvSpPr>
          <p:cNvPr id="9" name="Textplatzhalter 10">
            <a:extLst>
              <a:ext uri="{FF2B5EF4-FFF2-40B4-BE49-F238E27FC236}">
                <a16:creationId xmlns:a16="http://schemas.microsoft.com/office/drawing/2014/main" id="{F63E2467-CDE8-4456-BDC8-2E6458C092A7}"/>
              </a:ext>
            </a:extLst>
          </p:cNvPr>
          <p:cNvSpPr>
            <a:spLocks noGrp="1"/>
          </p:cNvSpPr>
          <p:nvPr>
            <p:ph type="body" sz="quarter" idx="15" hasCustomPrompt="1"/>
          </p:nvPr>
        </p:nvSpPr>
        <p:spPr>
          <a:xfrm>
            <a:off x="269081" y="704089"/>
            <a:ext cx="8586787" cy="382496"/>
          </a:xfrm>
        </p:spPr>
        <p:txBody>
          <a:bodyPr/>
          <a:lstStyle>
            <a:lvl1pPr marL="0" indent="0">
              <a:lnSpc>
                <a:spcPct val="114000"/>
              </a:lnSpc>
              <a:spcAft>
                <a:spcPts val="0"/>
              </a:spcAft>
              <a:buNone/>
              <a:defRPr sz="1350" b="1">
                <a:solidFill>
                  <a:schemeClr val="tx2"/>
                </a:solidFill>
              </a:defRPr>
            </a:lvl1pPr>
          </a:lstStyle>
          <a:p>
            <a:pPr lvl="0"/>
            <a:r>
              <a:rPr lang="de-DE" dirty="0" err="1"/>
              <a:t>Subline</a:t>
            </a:r>
            <a:endParaRPr lang="de-DE" dirty="0"/>
          </a:p>
        </p:txBody>
      </p:sp>
      <p:sp>
        <p:nvSpPr>
          <p:cNvPr id="3" name="Datumsplatzhalter 5">
            <a:extLst>
              <a:ext uri="{FF2B5EF4-FFF2-40B4-BE49-F238E27FC236}">
                <a16:creationId xmlns:a16="http://schemas.microsoft.com/office/drawing/2014/main" id="{A6C1D6E3-C47F-51AE-655A-15EEBF4AC691}"/>
              </a:ext>
            </a:extLst>
          </p:cNvPr>
          <p:cNvSpPr>
            <a:spLocks noGrp="1"/>
          </p:cNvSpPr>
          <p:nvPr>
            <p:ph type="dt" sz="half" idx="10"/>
          </p:nvPr>
        </p:nvSpPr>
        <p:spPr>
          <a:xfrm>
            <a:off x="2142871" y="4914546"/>
            <a:ext cx="2190170" cy="357504"/>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20869653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69E8AF11-FB81-42DE-B82C-BAAE6442B5E3}"/>
              </a:ext>
            </a:extLst>
          </p:cNvPr>
          <p:cNvSpPr>
            <a:spLocks noGrp="1"/>
          </p:cNvSpPr>
          <p:nvPr>
            <p:ph type="sldNum" sz="quarter" idx="11"/>
          </p:nvPr>
        </p:nvSpPr>
        <p:spPr>
          <a:xfrm>
            <a:off x="4363718" y="4927467"/>
            <a:ext cx="540000" cy="165832"/>
          </a:xfrm>
          <a:prstGeom prst="rect">
            <a:avLst/>
          </a:prstGeom>
        </p:spPr>
        <p:txBody>
          <a:bodyPr/>
          <a:lstStyle/>
          <a:p>
            <a:r>
              <a:rPr lang="de-DE" dirty="0"/>
              <a:t>Slide </a:t>
            </a:r>
            <a:fld id="{A52F4D17-1AD6-42D9-B93A-EB002C62F438}" type="slidenum">
              <a:rPr lang="de-DE" smtClean="0"/>
              <a:pPr/>
              <a:t>‹Nr.›</a:t>
            </a:fld>
            <a:endParaRPr lang="de-DE" dirty="0"/>
          </a:p>
        </p:txBody>
      </p:sp>
      <p:sp>
        <p:nvSpPr>
          <p:cNvPr id="2" name="Datumsplatzhalter 5">
            <a:extLst>
              <a:ext uri="{FF2B5EF4-FFF2-40B4-BE49-F238E27FC236}">
                <a16:creationId xmlns:a16="http://schemas.microsoft.com/office/drawing/2014/main" id="{7EE54658-5B32-3569-42C3-5E59DC39D4B3}"/>
              </a:ext>
            </a:extLst>
          </p:cNvPr>
          <p:cNvSpPr>
            <a:spLocks noGrp="1"/>
          </p:cNvSpPr>
          <p:nvPr>
            <p:ph type="dt" sz="half" idx="10"/>
          </p:nvPr>
        </p:nvSpPr>
        <p:spPr>
          <a:xfrm>
            <a:off x="2142871" y="4914546"/>
            <a:ext cx="2190170" cy="357504"/>
          </a:xfrm>
          <a:prstGeom prst="rect">
            <a:avLst/>
          </a:prstGeom>
        </p:spPr>
        <p:txBody>
          <a:bodyPr/>
          <a:lstStyle/>
          <a:p>
            <a:r>
              <a:rPr lang="en-US"/>
              <a:t>W-Div Engineering Meeting 14.11.2023</a:t>
            </a:r>
            <a:endParaRPr lang="de-DE" dirty="0"/>
          </a:p>
        </p:txBody>
      </p:sp>
    </p:spTree>
    <p:extLst>
      <p:ext uri="{BB962C8B-B14F-4D97-AF65-F5344CB8AC3E}">
        <p14:creationId xmlns:p14="http://schemas.microsoft.com/office/powerpoint/2010/main" val="12826402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5.xml"/><Relationship Id="rId18" Type="http://schemas.openxmlformats.org/officeDocument/2006/relationships/slideLayout" Target="../slideLayouts/slideLayout20.xml"/><Relationship Id="rId26" Type="http://schemas.openxmlformats.org/officeDocument/2006/relationships/slideLayout" Target="../slideLayouts/slideLayout28.xml"/><Relationship Id="rId39" Type="http://schemas.openxmlformats.org/officeDocument/2006/relationships/slideLayout" Target="../slideLayouts/slideLayout41.xml"/><Relationship Id="rId21" Type="http://schemas.openxmlformats.org/officeDocument/2006/relationships/slideLayout" Target="../slideLayouts/slideLayout23.xml"/><Relationship Id="rId34" Type="http://schemas.openxmlformats.org/officeDocument/2006/relationships/slideLayout" Target="../slideLayouts/slideLayout36.xml"/><Relationship Id="rId42" Type="http://schemas.openxmlformats.org/officeDocument/2006/relationships/image" Target="../media/image4.emf"/><Relationship Id="rId7" Type="http://schemas.openxmlformats.org/officeDocument/2006/relationships/slideLayout" Target="../slideLayouts/slideLayout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29" Type="http://schemas.openxmlformats.org/officeDocument/2006/relationships/slideLayout" Target="../slideLayouts/slideLayout31.xml"/><Relationship Id="rId41"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slideLayout" Target="../slideLayouts/slideLayout26.xml"/><Relationship Id="rId32" Type="http://schemas.openxmlformats.org/officeDocument/2006/relationships/slideLayout" Target="../slideLayouts/slideLayout34.xml"/><Relationship Id="rId37" Type="http://schemas.openxmlformats.org/officeDocument/2006/relationships/slideLayout" Target="../slideLayouts/slideLayout39.xml"/><Relationship Id="rId40" Type="http://schemas.openxmlformats.org/officeDocument/2006/relationships/slideLayout" Target="../slideLayouts/slideLayout42.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slideLayout" Target="../slideLayouts/slideLayout25.xml"/><Relationship Id="rId28" Type="http://schemas.openxmlformats.org/officeDocument/2006/relationships/slideLayout" Target="../slideLayouts/slideLayout30.xml"/><Relationship Id="rId36" Type="http://schemas.openxmlformats.org/officeDocument/2006/relationships/slideLayout" Target="../slideLayouts/slideLayout38.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31" Type="http://schemas.openxmlformats.org/officeDocument/2006/relationships/slideLayout" Target="../slideLayouts/slideLayout3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 Id="rId27" Type="http://schemas.openxmlformats.org/officeDocument/2006/relationships/slideLayout" Target="../slideLayouts/slideLayout29.xml"/><Relationship Id="rId30" Type="http://schemas.openxmlformats.org/officeDocument/2006/relationships/slideLayout" Target="../slideLayouts/slideLayout32.xml"/><Relationship Id="rId35" Type="http://schemas.openxmlformats.org/officeDocument/2006/relationships/slideLayout" Target="../slideLayouts/slideLayout37.xml"/><Relationship Id="rId43" Type="http://schemas.openxmlformats.org/officeDocument/2006/relationships/image" Target="../media/image5.emf"/><Relationship Id="rId8" Type="http://schemas.openxmlformats.org/officeDocument/2006/relationships/slideLayout" Target="../slideLayouts/slideLayout10.xml"/><Relationship Id="rId3" Type="http://schemas.openxmlformats.org/officeDocument/2006/relationships/slideLayout" Target="../slideLayouts/slideLayout5.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slideLayout" Target="../slideLayouts/slideLayout27.xml"/><Relationship Id="rId33" Type="http://schemas.openxmlformats.org/officeDocument/2006/relationships/slideLayout" Target="../slideLayouts/slideLayout35.xml"/><Relationship Id="rId38"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46.xml"/><Relationship Id="rId1"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3.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theme" Target="../theme/theme7.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image" Target="../media/image17.png"/><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6.jp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8.xml"/><Relationship Id="rId18" Type="http://schemas.openxmlformats.org/officeDocument/2006/relationships/image" Target="../media/image26.emf"/><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oleObject" Target="../embeddings/oleObject1.bin"/><Relationship Id="rId2" Type="http://schemas.openxmlformats.org/officeDocument/2006/relationships/slideLayout" Target="../slideLayouts/slideLayout75.xml"/><Relationship Id="rId16" Type="http://schemas.openxmlformats.org/officeDocument/2006/relationships/image" Target="../media/image25.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tags" Target="../tags/tag2.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ags" Target="../tags/tag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image" Target="../media/image35.png"/><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image" Target="../media/image34.emf"/><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image" Target="../media/image33.emf"/><Relationship Id="rId5" Type="http://schemas.openxmlformats.org/officeDocument/2006/relationships/slideLayout" Target="../slideLayouts/slideLayout90.xml"/><Relationship Id="rId10" Type="http://schemas.openxmlformats.org/officeDocument/2006/relationships/theme" Target="../theme/theme9.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e-DE"/>
              <a:t>Titelmasterformat durch Klicken bearbeiten</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4" name="Footer Placeholder 4">
            <a:extLst>
              <a:ext uri="{FF2B5EF4-FFF2-40B4-BE49-F238E27FC236}">
                <a16:creationId xmlns:a16="http://schemas.microsoft.com/office/drawing/2014/main" id="{AE7A2F9F-331C-9F4C-CDF9-673EAC79B755}"/>
              </a:ext>
            </a:extLst>
          </p:cNvPr>
          <p:cNvSpPr>
            <a:spLocks noGrp="1"/>
          </p:cNvSpPr>
          <p:nvPr>
            <p:ph type="ftr" sz="quarter" idx="3"/>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t>Jan W. Coenen</a:t>
            </a:r>
            <a:r>
              <a:rPr lang="en-GB" dirty="0">
                <a:solidFill>
                  <a:srgbClr val="FF0000"/>
                </a:solidFill>
              </a:rPr>
              <a:t> </a:t>
            </a:r>
            <a:r>
              <a:rPr lang="en-GB" dirty="0"/>
              <a:t>| WPPWIE Helsinki Meeting  | 08.07.2024 | Page </a:t>
            </a:r>
            <a:fld id="{6A6D9FA1-99C7-4910-8E32-B85D378B0060}" type="slidenum">
              <a:rPr lang="en-GB" smtClean="0"/>
              <a:pPr algn="r"/>
              <a:t>‹Nr.›</a:t>
            </a:fld>
            <a:endParaRPr lang="en-GB" dirty="0"/>
          </a:p>
        </p:txBody>
      </p:sp>
    </p:spTree>
    <p:extLst>
      <p:ext uri="{BB962C8B-B14F-4D97-AF65-F5344CB8AC3E}">
        <p14:creationId xmlns:p14="http://schemas.microsoft.com/office/powerpoint/2010/main" val="886642047"/>
      </p:ext>
    </p:extLst>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502D9F9-80C2-D30F-8D8B-9F5A494EF69D}"/>
              </a:ext>
            </a:extLst>
          </p:cNvPr>
          <p:cNvSpPr>
            <a:spLocks noGrp="1"/>
          </p:cNvSpPr>
          <p:nvPr>
            <p:ph type="title"/>
          </p:nvPr>
        </p:nvSpPr>
        <p:spPr>
          <a:xfrm>
            <a:off x="548879" y="235528"/>
            <a:ext cx="8046244" cy="653870"/>
          </a:xfrm>
          <a:prstGeom prst="rect">
            <a:avLst/>
          </a:prstGeom>
        </p:spPr>
        <p:txBody>
          <a:bodyPr vert="horz" lIns="0" tIns="45720" rIns="0" bIns="45720" rtlCol="0" anchor="t">
            <a:normAutofit/>
          </a:bodyPr>
          <a:lstStyle/>
          <a:p>
            <a:r>
              <a:rPr lang="fr-FR" dirty="0"/>
              <a:t>Modifiez le style du titre</a:t>
            </a:r>
          </a:p>
        </p:txBody>
      </p:sp>
      <p:sp>
        <p:nvSpPr>
          <p:cNvPr id="3" name="Espace réservé du texte 2">
            <a:extLst>
              <a:ext uri="{FF2B5EF4-FFF2-40B4-BE49-F238E27FC236}">
                <a16:creationId xmlns:a16="http://schemas.microsoft.com/office/drawing/2014/main" id="{8E62F5FE-77B2-23B0-C532-AEB2E287C5B6}"/>
              </a:ext>
            </a:extLst>
          </p:cNvPr>
          <p:cNvSpPr>
            <a:spLocks noGrp="1"/>
          </p:cNvSpPr>
          <p:nvPr>
            <p:ph type="body" idx="1"/>
          </p:nvPr>
        </p:nvSpPr>
        <p:spPr>
          <a:xfrm>
            <a:off x="548879" y="1035844"/>
            <a:ext cx="8046244" cy="3399235"/>
          </a:xfrm>
          <a:prstGeom prst="rect">
            <a:avLst/>
          </a:prstGeom>
        </p:spPr>
        <p:txBody>
          <a:bodyPr vert="horz" lIns="0" tIns="45720" rIns="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a:extLst>
              <a:ext uri="{FF2B5EF4-FFF2-40B4-BE49-F238E27FC236}">
                <a16:creationId xmlns:a16="http://schemas.microsoft.com/office/drawing/2014/main" id="{39023659-435A-02ED-1399-865530A10F2A}"/>
              </a:ext>
            </a:extLst>
          </p:cNvPr>
          <p:cNvSpPr>
            <a:spLocks noGrp="1"/>
          </p:cNvSpPr>
          <p:nvPr>
            <p:ph type="dt" sz="half" idx="2"/>
          </p:nvPr>
        </p:nvSpPr>
        <p:spPr>
          <a:xfrm>
            <a:off x="7219950" y="4757738"/>
            <a:ext cx="762000" cy="273844"/>
          </a:xfrm>
          <a:prstGeom prst="rect">
            <a:avLst/>
          </a:prstGeom>
        </p:spPr>
        <p:txBody>
          <a:bodyPr vert="horz" lIns="91440" tIns="45720" rIns="91440" bIns="45720" rtlCol="0" anchor="ctr"/>
          <a:lstStyle>
            <a:lvl1pPr algn="r">
              <a:defRPr sz="900">
                <a:solidFill>
                  <a:schemeClr val="tx1">
                    <a:tint val="75000"/>
                  </a:schemeClr>
                </a:solidFill>
              </a:defRPr>
            </a:lvl1pPr>
          </a:lstStyle>
          <a:p>
            <a:r>
              <a:rPr lang="fr-FR"/>
              <a:t>28/10/2022</a:t>
            </a:r>
            <a:endParaRPr lang="fr-FR" dirty="0"/>
          </a:p>
        </p:txBody>
      </p:sp>
      <p:sp>
        <p:nvSpPr>
          <p:cNvPr id="5" name="Espace réservé du pied de page 4">
            <a:extLst>
              <a:ext uri="{FF2B5EF4-FFF2-40B4-BE49-F238E27FC236}">
                <a16:creationId xmlns:a16="http://schemas.microsoft.com/office/drawing/2014/main" id="{75C35D0C-47E7-5C23-F3E1-F607F10E2CE5}"/>
              </a:ext>
            </a:extLst>
          </p:cNvPr>
          <p:cNvSpPr>
            <a:spLocks noGrp="1"/>
          </p:cNvSpPr>
          <p:nvPr>
            <p:ph type="ftr" sz="quarter" idx="3"/>
          </p:nvPr>
        </p:nvSpPr>
        <p:spPr>
          <a:xfrm>
            <a:off x="552450" y="4757738"/>
            <a:ext cx="66294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fr-FR"/>
              <a:t>A. DURIF et al - Tervaniemi meeting – 06/02/2024</a:t>
            </a:r>
            <a:endParaRPr lang="fr-FR" dirty="0"/>
          </a:p>
        </p:txBody>
      </p:sp>
      <p:sp>
        <p:nvSpPr>
          <p:cNvPr id="6" name="Espace réservé du numéro de diapositive 5">
            <a:extLst>
              <a:ext uri="{FF2B5EF4-FFF2-40B4-BE49-F238E27FC236}">
                <a16:creationId xmlns:a16="http://schemas.microsoft.com/office/drawing/2014/main" id="{4D08E43D-0343-547B-3EBE-C6B616E5AC34}"/>
              </a:ext>
            </a:extLst>
          </p:cNvPr>
          <p:cNvSpPr>
            <a:spLocks noGrp="1"/>
          </p:cNvSpPr>
          <p:nvPr>
            <p:ph type="sldNum" sz="quarter" idx="4"/>
          </p:nvPr>
        </p:nvSpPr>
        <p:spPr>
          <a:xfrm>
            <a:off x="8249500" y="4757738"/>
            <a:ext cx="520304" cy="273844"/>
          </a:xfrm>
          <a:prstGeom prst="rect">
            <a:avLst/>
          </a:prstGeom>
        </p:spPr>
        <p:txBody>
          <a:bodyPr vert="horz" lIns="91440" tIns="45720" rIns="91440" bIns="45720" rtlCol="0" anchor="ctr"/>
          <a:lstStyle>
            <a:lvl1pPr algn="r">
              <a:defRPr sz="900" b="1">
                <a:solidFill>
                  <a:schemeClr val="tx2"/>
                </a:solidFill>
                <a:latin typeface="+mn-lt"/>
              </a:defRPr>
            </a:lvl1pPr>
          </a:lstStyle>
          <a:p>
            <a:fld id="{0CBC77A0-1F4E-42FF-9FFC-F45C3A64AF90}" type="slidenum">
              <a:rPr lang="fr-FR" smtClean="0"/>
              <a:pPr/>
              <a:t>‹Nr.›</a:t>
            </a:fld>
            <a:endParaRPr lang="fr-FR" dirty="0"/>
          </a:p>
        </p:txBody>
      </p:sp>
      <p:pic>
        <p:nvPicPr>
          <p:cNvPr id="7" name="Logo CEA">
            <a:extLst>
              <a:ext uri="{FF2B5EF4-FFF2-40B4-BE49-F238E27FC236}">
                <a16:creationId xmlns:a16="http://schemas.microsoft.com/office/drawing/2014/main" id="{87F05716-C695-E053-1C8E-FF8171756741}"/>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193423" y="4757738"/>
            <a:ext cx="274493" cy="274493"/>
          </a:xfrm>
          <a:prstGeom prst="rect">
            <a:avLst/>
          </a:prstGeom>
        </p:spPr>
      </p:pic>
      <p:pic>
        <p:nvPicPr>
          <p:cNvPr id="10" name="PATTERN CARRE DECAL" hidden="1">
            <a:extLst>
              <a:ext uri="{FF2B5EF4-FFF2-40B4-BE49-F238E27FC236}">
                <a16:creationId xmlns:a16="http://schemas.microsoft.com/office/drawing/2014/main" id="{57B8022F-6BAC-B272-714C-3051A2DF826F}"/>
              </a:ext>
            </a:extLst>
          </p:cNvPr>
          <p:cNvPicPr>
            <a:picLocks noChangeAspect="1"/>
          </p:cNvPicPr>
          <p:nvPr userDrawn="1"/>
        </p:nvPicPr>
        <p:blipFill rotWithShape="1">
          <a:blip r:embed="rId43" cstate="screen">
            <a:duotone>
              <a:prstClr val="black"/>
              <a:srgbClr val="D9C3A5">
                <a:tint val="50000"/>
                <a:satMod val="180000"/>
              </a:srgbClr>
            </a:duotone>
            <a:extLst>
              <a:ext uri="{28A0092B-C50C-407E-A947-70E740481C1C}">
                <a14:useLocalDpi xmlns:a14="http://schemas.microsoft.com/office/drawing/2010/main"/>
              </a:ext>
            </a:extLst>
          </a:blip>
          <a:srcRect t="19705" r="39861" b="-1"/>
          <a:stretch/>
        </p:blipFill>
        <p:spPr>
          <a:xfrm>
            <a:off x="5584825" y="0"/>
            <a:ext cx="3559175" cy="3127241"/>
          </a:xfrm>
          <a:prstGeom prst="rect">
            <a:avLst/>
          </a:prstGeom>
        </p:spPr>
      </p:pic>
    </p:spTree>
    <p:extLst>
      <p:ext uri="{BB962C8B-B14F-4D97-AF65-F5344CB8AC3E}">
        <p14:creationId xmlns:p14="http://schemas.microsoft.com/office/powerpoint/2010/main" val="6968416"/>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 id="2147483670" r:id="rId19"/>
    <p:sldLayoutId id="2147483671" r:id="rId20"/>
    <p:sldLayoutId id="2147483672" r:id="rId21"/>
    <p:sldLayoutId id="2147483673" r:id="rId22"/>
    <p:sldLayoutId id="2147483674" r:id="rId23"/>
    <p:sldLayoutId id="2147483675" r:id="rId24"/>
    <p:sldLayoutId id="2147483676" r:id="rId25"/>
    <p:sldLayoutId id="2147483677" r:id="rId26"/>
    <p:sldLayoutId id="2147483678" r:id="rId27"/>
    <p:sldLayoutId id="2147483679" r:id="rId28"/>
    <p:sldLayoutId id="2147483680" r:id="rId29"/>
    <p:sldLayoutId id="2147483681" r:id="rId30"/>
    <p:sldLayoutId id="2147483682" r:id="rId31"/>
    <p:sldLayoutId id="2147483683" r:id="rId32"/>
    <p:sldLayoutId id="2147483684" r:id="rId33"/>
    <p:sldLayoutId id="2147483685" r:id="rId34"/>
    <p:sldLayoutId id="2147483686" r:id="rId35"/>
    <p:sldLayoutId id="2147483687" r:id="rId36"/>
    <p:sldLayoutId id="2147483688" r:id="rId37"/>
    <p:sldLayoutId id="2147483689" r:id="rId38"/>
    <p:sldLayoutId id="2147483696" r:id="rId39"/>
    <p:sldLayoutId id="2147483751" r:id="rId40"/>
  </p:sldLayoutIdLst>
  <p:hf hdr="0"/>
  <p:txStyles>
    <p:titleStyle>
      <a:lvl1pPr algn="l" defTabSz="685800" rtl="0" eaLnBrk="1" latinLnBrk="0" hangingPunct="1">
        <a:lnSpc>
          <a:spcPct val="90000"/>
        </a:lnSpc>
        <a:spcBef>
          <a:spcPct val="0"/>
        </a:spcBef>
        <a:buNone/>
        <a:defRPr sz="2400" kern="1200">
          <a:solidFill>
            <a:schemeClr val="tx2"/>
          </a:solidFill>
          <a:latin typeface="+mj-lt"/>
          <a:ea typeface="+mj-ea"/>
          <a:cs typeface="+mj-cs"/>
        </a:defRPr>
      </a:lvl1pPr>
    </p:titleStyle>
    <p:bodyStyle>
      <a:lvl1pPr marL="0" indent="0" algn="l" defTabSz="685800" rtl="0" eaLnBrk="1" latinLnBrk="0" hangingPunct="1">
        <a:lnSpc>
          <a:spcPct val="100000"/>
        </a:lnSpc>
        <a:spcBef>
          <a:spcPts val="900"/>
        </a:spcBef>
        <a:buClr>
          <a:schemeClr val="tx2"/>
        </a:buClr>
        <a:buSzPct val="90000"/>
        <a:buFont typeface="Arial" panose="020B0604020202020204" pitchFamily="34" charset="0"/>
        <a:buNone/>
        <a:defRPr sz="1350" kern="1200">
          <a:solidFill>
            <a:schemeClr val="tx1"/>
          </a:solidFill>
          <a:latin typeface="+mn-lt"/>
          <a:ea typeface="+mn-ea"/>
          <a:cs typeface="+mn-cs"/>
        </a:defRPr>
      </a:lvl1pPr>
      <a:lvl2pPr marL="200025" indent="-200025" algn="l" defTabSz="685800" rtl="0" eaLnBrk="1" latinLnBrk="0" hangingPunct="1">
        <a:lnSpc>
          <a:spcPct val="100000"/>
        </a:lnSpc>
        <a:spcBef>
          <a:spcPts val="375"/>
        </a:spcBef>
        <a:buClr>
          <a:schemeClr val="tx2"/>
        </a:buClr>
        <a:buSzPct val="90000"/>
        <a:buFont typeface="Arial" panose="020B0604020202020204" pitchFamily="34" charset="0"/>
        <a:buChar char="■"/>
        <a:defRPr sz="1350" kern="1200">
          <a:solidFill>
            <a:schemeClr val="tx1"/>
          </a:solidFill>
          <a:latin typeface="+mn-lt"/>
          <a:ea typeface="+mn-ea"/>
          <a:cs typeface="+mn-cs"/>
        </a:defRPr>
      </a:lvl2pPr>
      <a:lvl3pPr marL="406004" indent="-205979" algn="l" defTabSz="685800" rtl="0" eaLnBrk="1" latinLnBrk="0" hangingPunct="1">
        <a:lnSpc>
          <a:spcPct val="100000"/>
        </a:lnSpc>
        <a:spcBef>
          <a:spcPts val="375"/>
        </a:spcBef>
        <a:buSzPct val="90000"/>
        <a:buFont typeface="Arial" panose="020B0604020202020204" pitchFamily="34" charset="0"/>
        <a:buChar char="■"/>
        <a:defRPr sz="1350" kern="1200">
          <a:solidFill>
            <a:schemeClr val="tx1"/>
          </a:solidFill>
          <a:latin typeface="+mn-lt"/>
          <a:ea typeface="+mn-ea"/>
          <a:cs typeface="+mn-cs"/>
        </a:defRPr>
      </a:lvl3pPr>
      <a:lvl4pPr marL="606029" indent="-200025" algn="l" defTabSz="685800" rtl="0" eaLnBrk="1" latinLnBrk="0" hangingPunct="1">
        <a:lnSpc>
          <a:spcPct val="100000"/>
        </a:lnSpc>
        <a:spcBef>
          <a:spcPts val="375"/>
        </a:spcBef>
        <a:buSzPct val="90000"/>
        <a:buFont typeface="Arial" panose="020B0604020202020204" pitchFamily="34" charset="0"/>
        <a:buChar char="■"/>
        <a:defRPr sz="1350" kern="1200">
          <a:solidFill>
            <a:schemeClr val="tx1"/>
          </a:solidFill>
          <a:latin typeface="+mn-lt"/>
          <a:ea typeface="+mn-ea"/>
          <a:cs typeface="+mn-cs"/>
        </a:defRPr>
      </a:lvl4pPr>
      <a:lvl5pPr marL="806054" indent="-200025" algn="l" defTabSz="685800" rtl="0" eaLnBrk="1" latinLnBrk="0" hangingPunct="1">
        <a:lnSpc>
          <a:spcPct val="100000"/>
        </a:lnSpc>
        <a:spcBef>
          <a:spcPts val="375"/>
        </a:spcBef>
        <a:buSzPct val="90000"/>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p15:clr>
            <a:srgbClr val="F26B43"/>
          </p15:clr>
        </p15:guide>
        <p15:guide id="2" orient="horz" pos="3861">
          <p15:clr>
            <a:srgbClr val="F26B43"/>
          </p15:clr>
        </p15:guide>
        <p15:guide id="3" pos="461">
          <p15:clr>
            <a:srgbClr val="F26B43"/>
          </p15:clr>
        </p15:guide>
        <p15:guide id="4" pos="7219">
          <p15:clr>
            <a:srgbClr val="F26B43"/>
          </p15:clr>
        </p15:guide>
        <p15:guide id="7" orient="horz" pos="37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AEB1851A-CFBC-47C7-80F8-04FF84B1759D}" type="datetimeFigureOut">
              <a:rPr lang="en-GB" smtClean="0"/>
              <a:pPr/>
              <a:t>10/04/2024</a:t>
            </a:fld>
            <a:endParaRPr lang="en-GB"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endParaRPr lang="en-GB"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defRPr>
            </a:lvl1pPr>
          </a:lstStyle>
          <a:p>
            <a:fld id="{6A6D9FA1-99C7-4910-8E32-B85D378B0060}" type="slidenum">
              <a:rPr lang="en-GB" smtClean="0"/>
              <a:pPr/>
              <a:t>‹Nr.›</a:t>
            </a:fld>
            <a:endParaRPr lang="en-GB" dirty="0"/>
          </a:p>
        </p:txBody>
      </p:sp>
    </p:spTree>
    <p:extLst>
      <p:ext uri="{BB962C8B-B14F-4D97-AF65-F5344CB8AC3E}">
        <p14:creationId xmlns:p14="http://schemas.microsoft.com/office/powerpoint/2010/main" val="1553705368"/>
      </p:ext>
    </p:extLst>
  </p:cSld>
  <p:clrMap bg1="lt1" tx1="dk1" bg2="lt2" tx2="dk2" accent1="accent1" accent2="accent2" accent3="accent3" accent4="accent4" accent5="accent5" accent6="accent6" hlink="hlink" folHlink="folHlink"/>
  <p:sldLayoutIdLst>
    <p:sldLayoutId id="2147483691" r:id="rId1"/>
    <p:sldLayoutId id="2147483692" r:id="rId2"/>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e-DE"/>
              <a:t>Titelmasterformat durch Klicken bearbeiten</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9" name="Fußzeilenplatzhalter 3"/>
          <p:cNvSpPr>
            <a:spLocks noGrp="1"/>
          </p:cNvSpPr>
          <p:nvPr>
            <p:ph type="ftr" sz="quarter" idx="3"/>
          </p:nvPr>
        </p:nvSpPr>
        <p:spPr>
          <a:xfrm>
            <a:off x="467545" y="4908928"/>
            <a:ext cx="8240228" cy="201104"/>
          </a:xfrm>
          <a:prstGeom prst="rect">
            <a:avLst/>
          </a:prstGeom>
        </p:spPr>
        <p:txBody>
          <a:bodyPr/>
          <a:lstStyle/>
          <a:p>
            <a:pPr algn="r"/>
            <a:r>
              <a:rPr lang="en-GB" dirty="0">
                <a:solidFill>
                  <a:srgbClr val="FF0000"/>
                </a:solidFill>
              </a:rPr>
              <a:t>YOUR NAME</a:t>
            </a:r>
            <a:r>
              <a:rPr lang="en-GB" dirty="0"/>
              <a:t>| Project Board WP PWIE  | Zoom | 22.06.2021 | Page </a:t>
            </a:r>
            <a:fld id="{6A6D9FA1-99C7-4910-8E32-B85D378B0060}" type="slidenum">
              <a:rPr lang="en-GB" smtClean="0"/>
              <a:pPr algn="r"/>
              <a:t>‹Nr.›</a:t>
            </a:fld>
            <a:endParaRPr lang="en-GB" dirty="0"/>
          </a:p>
        </p:txBody>
      </p:sp>
    </p:spTree>
    <p:extLst>
      <p:ext uri="{BB962C8B-B14F-4D97-AF65-F5344CB8AC3E}">
        <p14:creationId xmlns:p14="http://schemas.microsoft.com/office/powerpoint/2010/main" val="633884034"/>
      </p:ext>
    </p:extLst>
  </p:cSld>
  <p:clrMap bg1="lt1" tx1="dk1" bg2="lt2" tx2="dk2" accent1="accent1" accent2="accent2" accent3="accent3" accent4="accent4" accent5="accent5" accent6="accent6" hlink="hlink" folHlink="folHlink"/>
  <p:sldLayoutIdLst>
    <p:sldLayoutId id="2147483694" r:id="rId1"/>
    <p:sldLayoutId id="2147483695" r:id="rId2"/>
  </p:sldLayoutIdLst>
  <p:txStyles>
    <p:titleStyle>
      <a:lvl1pPr algn="ctr" defTabSz="914378"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FFFFCC"/>
            </a:gs>
            <a:gs pos="18000">
              <a:srgbClr val="FFFFDD"/>
            </a:gs>
            <a:gs pos="100000">
              <a:srgbClr val="FFFFF7"/>
            </a:gs>
          </a:gsLst>
          <a:lin ang="2700000" scaled="1"/>
          <a:tileRect/>
        </a:gradFill>
        <a:effectLst/>
      </p:bgPr>
    </p:bg>
    <p:spTree>
      <p:nvGrpSpPr>
        <p:cNvPr id="1" name=""/>
        <p:cNvGrpSpPr/>
        <p:nvPr/>
      </p:nvGrpSpPr>
      <p:grpSpPr>
        <a:xfrm>
          <a:off x="0" y="0"/>
          <a:ext cx="0" cy="0"/>
          <a:chOff x="0" y="0"/>
          <a:chExt cx="0" cy="0"/>
        </a:xfrm>
      </p:grpSpPr>
      <p:sp>
        <p:nvSpPr>
          <p:cNvPr id="54" name="CustomShape 1"/>
          <p:cNvSpPr/>
          <p:nvPr/>
        </p:nvSpPr>
        <p:spPr>
          <a:xfrm>
            <a:off x="0" y="0"/>
            <a:ext cx="9143280" cy="513720"/>
          </a:xfrm>
          <a:prstGeom prst="rect">
            <a:avLst/>
          </a:prstGeom>
          <a:solidFill>
            <a:srgbClr val="E3E3E3"/>
          </a:solidFill>
          <a:ln>
            <a:noFill/>
          </a:ln>
          <a:effectLst>
            <a:outerShdw blurRad="40000" dist="23040" dir="5400000" rotWithShape="0">
              <a:srgbClr val="000000">
                <a:alpha val="35000"/>
              </a:srgbClr>
            </a:outerShdw>
          </a:effectLst>
        </p:spPr>
        <p:style>
          <a:lnRef idx="1">
            <a:schemeClr val="accent1"/>
          </a:lnRef>
          <a:fillRef idx="3">
            <a:schemeClr val="accent1"/>
          </a:fillRef>
          <a:effectRef idx="2">
            <a:schemeClr val="accent1"/>
          </a:effectRef>
          <a:fontRef idx="minor"/>
        </p:style>
      </p:sp>
      <p:pic>
        <p:nvPicPr>
          <p:cNvPr id="55" name="Picture 6" descr="EurofusionDisc.eps"/>
          <p:cNvPicPr/>
          <p:nvPr/>
        </p:nvPicPr>
        <p:blipFill>
          <a:blip r:embed="rId15"/>
          <a:stretch/>
        </p:blipFill>
        <p:spPr>
          <a:xfrm>
            <a:off x="8316360" y="70200"/>
            <a:ext cx="367200" cy="373320"/>
          </a:xfrm>
          <a:prstGeom prst="rect">
            <a:avLst/>
          </a:prstGeom>
          <a:ln>
            <a:noFill/>
          </a:ln>
        </p:spPr>
      </p:pic>
      <p:sp>
        <p:nvSpPr>
          <p:cNvPr id="56" name="PlaceHolder 2"/>
          <p:cNvSpPr>
            <a:spLocks noGrp="1"/>
          </p:cNvSpPr>
          <p:nvPr>
            <p:ph type="title"/>
          </p:nvPr>
        </p:nvSpPr>
        <p:spPr>
          <a:xfrm>
            <a:off x="457200" y="205200"/>
            <a:ext cx="8229240" cy="858600"/>
          </a:xfrm>
          <a:prstGeom prst="rect">
            <a:avLst/>
          </a:prstGeom>
        </p:spPr>
        <p:txBody>
          <a:bodyPr lIns="0" tIns="0" rIns="0" bIns="0" anchor="ctr">
            <a:noAutofit/>
          </a:bodyPr>
          <a:lstStyle/>
          <a:p>
            <a:pPr algn="ctr"/>
            <a:r>
              <a:rPr lang="es-ES" sz="4400" b="0" strike="noStrike" spc="-1">
                <a:latin typeface="Arial"/>
              </a:rPr>
              <a:t>Pulse para editar el formato del texto de título</a:t>
            </a:r>
          </a:p>
        </p:txBody>
      </p:sp>
      <p:sp>
        <p:nvSpPr>
          <p:cNvPr id="57" name="PlaceHolder 3"/>
          <p:cNvSpPr>
            <a:spLocks noGrp="1"/>
          </p:cNvSpPr>
          <p:nvPr>
            <p:ph type="body"/>
          </p:nvPr>
        </p:nvSpPr>
        <p:spPr>
          <a:xfrm>
            <a:off x="457200" y="1203480"/>
            <a:ext cx="8229240" cy="2982960"/>
          </a:xfrm>
          <a:prstGeom prst="rect">
            <a:avLst/>
          </a:prstGeom>
        </p:spPr>
        <p:txBody>
          <a:bodyPr lIns="0" tIns="0" rIns="0" bIns="0">
            <a:normAutofit fontScale="88000"/>
          </a:bodyPr>
          <a:lstStyle/>
          <a:p>
            <a:pPr marL="432000" indent="-324000">
              <a:spcBef>
                <a:spcPts val="1417"/>
              </a:spcBef>
              <a:buClr>
                <a:srgbClr val="000000"/>
              </a:buClr>
              <a:buSzPct val="45000"/>
              <a:buFont typeface="Wingdings" charset="2"/>
              <a:buChar char=""/>
            </a:pPr>
            <a:r>
              <a:rPr lang="es-ES" sz="3200" b="0" strike="noStrike" spc="-1">
                <a:latin typeface="Arial"/>
              </a:rPr>
              <a:t>Pulse para editar el formato de texto del esquema</a:t>
            </a:r>
          </a:p>
          <a:p>
            <a:pPr marL="864000" lvl="1" indent="-324000">
              <a:spcBef>
                <a:spcPts val="1134"/>
              </a:spcBef>
              <a:buClr>
                <a:srgbClr val="000000"/>
              </a:buClr>
              <a:buSzPct val="75000"/>
              <a:buFont typeface="Symbol" charset="2"/>
              <a:buChar char=""/>
            </a:pPr>
            <a:r>
              <a:rPr lang="es-ES" sz="2800" b="0" strike="noStrike" spc="-1">
                <a:latin typeface="Arial"/>
              </a:rPr>
              <a:t>Segundo nivel del esquema</a:t>
            </a:r>
          </a:p>
          <a:p>
            <a:pPr marL="1296000" lvl="2" indent="-288000">
              <a:spcBef>
                <a:spcPts val="850"/>
              </a:spcBef>
              <a:buClr>
                <a:srgbClr val="000000"/>
              </a:buClr>
              <a:buSzPct val="45000"/>
              <a:buFont typeface="Wingdings" charset="2"/>
              <a:buChar char=""/>
            </a:pPr>
            <a:r>
              <a:rPr lang="es-ES" sz="2400" b="0" strike="noStrike" spc="-1">
                <a:latin typeface="Arial"/>
              </a:rPr>
              <a:t>Tercer nivel del esquema</a:t>
            </a:r>
          </a:p>
          <a:p>
            <a:pPr marL="1728000" lvl="3" indent="-216000">
              <a:spcBef>
                <a:spcPts val="567"/>
              </a:spcBef>
              <a:buClr>
                <a:srgbClr val="000000"/>
              </a:buClr>
              <a:buSzPct val="75000"/>
              <a:buFont typeface="Symbol" charset="2"/>
              <a:buChar char=""/>
            </a:pPr>
            <a:r>
              <a:rPr lang="es-ES" sz="2000" b="0" strike="noStrike" spc="-1">
                <a:latin typeface="Arial"/>
              </a:rPr>
              <a:t>Cuarto nivel del esquema</a:t>
            </a:r>
          </a:p>
          <a:p>
            <a:pPr marL="2160000" lvl="4" indent="-216000">
              <a:spcBef>
                <a:spcPts val="283"/>
              </a:spcBef>
              <a:buClr>
                <a:srgbClr val="000000"/>
              </a:buClr>
              <a:buSzPct val="45000"/>
              <a:buFont typeface="Wingdings" charset="2"/>
              <a:buChar char=""/>
            </a:pPr>
            <a:r>
              <a:rPr lang="es-ES" sz="2000" b="0" strike="noStrike" spc="-1">
                <a:latin typeface="Arial"/>
              </a:rPr>
              <a:t>Quinto nivel del esquema</a:t>
            </a:r>
          </a:p>
          <a:p>
            <a:pPr marL="2592000" lvl="5" indent="-216000">
              <a:spcBef>
                <a:spcPts val="283"/>
              </a:spcBef>
              <a:buClr>
                <a:srgbClr val="000000"/>
              </a:buClr>
              <a:buSzPct val="45000"/>
              <a:buFont typeface="Wingdings" charset="2"/>
              <a:buChar char=""/>
            </a:pPr>
            <a:r>
              <a:rPr lang="es-ES" sz="2000" b="0" strike="noStrike" spc="-1">
                <a:latin typeface="Arial"/>
              </a:rPr>
              <a:t>Sexto nivel del esquema</a:t>
            </a:r>
          </a:p>
          <a:p>
            <a:pPr marL="3024000" lvl="6" indent="-216000">
              <a:spcBef>
                <a:spcPts val="283"/>
              </a:spcBef>
              <a:buClr>
                <a:srgbClr val="000000"/>
              </a:buClr>
              <a:buSzPct val="45000"/>
              <a:buFont typeface="Wingdings" charset="2"/>
              <a:buChar char=""/>
            </a:pPr>
            <a:r>
              <a:rPr lang="es-ES" sz="2000" b="0" strike="noStrike" spc="-1">
                <a:latin typeface="Arial"/>
              </a:rPr>
              <a:t>Séptimo nivel del esquema</a:t>
            </a:r>
          </a:p>
        </p:txBody>
      </p:sp>
    </p:spTree>
    <p:extLst>
      <p:ext uri="{BB962C8B-B14F-4D97-AF65-F5344CB8AC3E}">
        <p14:creationId xmlns:p14="http://schemas.microsoft.com/office/powerpoint/2010/main" val="41221361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xStyles>
    <p:titleStyle/>
    <p:bodyStyle/>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e-DE"/>
              <a:t>Titelmasterformat durch Klicken bearbeiten</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9" name="Fußzeilenplatzhalter 3"/>
          <p:cNvSpPr>
            <a:spLocks noGrp="1"/>
          </p:cNvSpPr>
          <p:nvPr>
            <p:ph type="ftr" sz="quarter" idx="3"/>
          </p:nvPr>
        </p:nvSpPr>
        <p:spPr>
          <a:xfrm>
            <a:off x="467545" y="4908928"/>
            <a:ext cx="8240228" cy="201104"/>
          </a:xfrm>
          <a:prstGeom prst="rect">
            <a:avLst/>
          </a:prstGeom>
        </p:spPr>
        <p:txBody>
          <a:bodyPr/>
          <a:lstStyle/>
          <a:p>
            <a:pPr algn="r"/>
            <a:r>
              <a:rPr lang="en-GB" dirty="0">
                <a:solidFill>
                  <a:srgbClr val="FF0000"/>
                </a:solidFill>
              </a:rPr>
              <a:t>YOUR NAME</a:t>
            </a:r>
            <a:r>
              <a:rPr lang="en-GB" dirty="0"/>
              <a:t>| Project Board WP PWIE  | Zoom | 22.06.2021 | Page </a:t>
            </a:r>
            <a:fld id="{6A6D9FA1-99C7-4910-8E32-B85D378B0060}" type="slidenum">
              <a:rPr lang="en-GB" smtClean="0"/>
              <a:pPr algn="r"/>
              <a:t>‹Nr.›</a:t>
            </a:fld>
            <a:endParaRPr lang="en-GB" dirty="0"/>
          </a:p>
        </p:txBody>
      </p:sp>
    </p:spTree>
    <p:extLst>
      <p:ext uri="{BB962C8B-B14F-4D97-AF65-F5344CB8AC3E}">
        <p14:creationId xmlns:p14="http://schemas.microsoft.com/office/powerpoint/2010/main" val="3377178260"/>
      </p:ext>
    </p:extLst>
  </p:cSld>
  <p:clrMap bg1="lt1" tx1="dk1" bg2="lt2" tx2="dk2" accent1="accent1" accent2="accent2" accent3="accent3" accent4="accent4" accent5="accent5" accent6="accent6" hlink="hlink" folHlink="folHlink"/>
  <p:sldLayoutIdLst>
    <p:sldLayoutId id="2147483712" r:id="rId1"/>
    <p:sldLayoutId id="2147483713" r:id="rId2"/>
  </p:sldLayoutIdLst>
  <p:txStyles>
    <p:titleStyle>
      <a:lvl1pPr algn="ctr" defTabSz="914378"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892" indent="-342892" algn="l" defTabSz="9143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31" indent="-285743" algn="l" defTabSz="914378"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2972" indent="-228594" algn="l" defTabSz="914378"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160"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348" indent="-228594" algn="l" defTabSz="914378"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56B1E6E1-D838-4D74-BB40-D99B32CF7F4E}"/>
              </a:ext>
            </a:extLst>
          </p:cNvPr>
          <p:cNvSpPr>
            <a:spLocks noGrp="1"/>
          </p:cNvSpPr>
          <p:nvPr>
            <p:ph type="title"/>
          </p:nvPr>
        </p:nvSpPr>
        <p:spPr>
          <a:xfrm>
            <a:off x="269029" y="57610"/>
            <a:ext cx="8218937" cy="848137"/>
          </a:xfrm>
          <a:prstGeom prst="rect">
            <a:avLst/>
          </a:prstGeom>
        </p:spPr>
        <p:txBody>
          <a:bodyPr vert="horz" lIns="91440" tIns="45720" rIns="91440" bIns="45720" rtlCol="0" anchor="b">
            <a:normAutofit/>
          </a:bodyPr>
          <a:lstStyle/>
          <a:p>
            <a:r>
              <a:rPr lang="en-GB" noProof="0" dirty="0"/>
              <a:t>Click to edit title style</a:t>
            </a:r>
          </a:p>
        </p:txBody>
      </p:sp>
      <p:sp>
        <p:nvSpPr>
          <p:cNvPr id="3" name="Tijdelijke aanduiding voor tekst 2">
            <a:extLst>
              <a:ext uri="{FF2B5EF4-FFF2-40B4-BE49-F238E27FC236}">
                <a16:creationId xmlns:a16="http://schemas.microsoft.com/office/drawing/2014/main" id="{711BF839-02E3-4C7D-9EAD-E3D6CEF99145}"/>
              </a:ext>
            </a:extLst>
          </p:cNvPr>
          <p:cNvSpPr>
            <a:spLocks noGrp="1"/>
          </p:cNvSpPr>
          <p:nvPr>
            <p:ph type="body" idx="1"/>
          </p:nvPr>
        </p:nvSpPr>
        <p:spPr>
          <a:xfrm>
            <a:off x="867076" y="1326797"/>
            <a:ext cx="7615238" cy="3098713"/>
          </a:xfrm>
          <a:prstGeom prst="rect">
            <a:avLst/>
          </a:prstGeom>
        </p:spPr>
        <p:txBody>
          <a:bodyPr vert="horz" lIns="0" tIns="0" rIns="0" bIns="0" rtlCol="0">
            <a:normAutofit/>
          </a:bodyPr>
          <a:lstStyle/>
          <a:p>
            <a:pPr lvl="0"/>
            <a:r>
              <a:rPr lang="en-GB" noProof="0" dirty="0"/>
              <a:t>Click to edit text styl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jdelijke aanduiding voor datum 3">
            <a:extLst>
              <a:ext uri="{FF2B5EF4-FFF2-40B4-BE49-F238E27FC236}">
                <a16:creationId xmlns:a16="http://schemas.microsoft.com/office/drawing/2014/main" id="{BFF128D9-473A-4F7D-8DD5-6600F505664A}"/>
              </a:ext>
            </a:extLst>
          </p:cNvPr>
          <p:cNvSpPr>
            <a:spLocks noGrp="1"/>
          </p:cNvSpPr>
          <p:nvPr>
            <p:ph type="dt" sz="half" idx="2"/>
          </p:nvPr>
        </p:nvSpPr>
        <p:spPr>
          <a:xfrm>
            <a:off x="859922" y="4738500"/>
            <a:ext cx="1310814"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fld id="{C2291A81-DEA1-4C17-9184-9516051FEBCC}" type="datetime4">
              <a:rPr lang="nl-NL" smtClean="0"/>
              <a:pPr/>
              <a:t>10 april 2024</a:t>
            </a:fld>
            <a:endParaRPr lang="nl-NL" dirty="0"/>
          </a:p>
        </p:txBody>
      </p:sp>
      <p:sp>
        <p:nvSpPr>
          <p:cNvPr id="5" name="Tijdelijke aanduiding voor voettekst 4">
            <a:extLst>
              <a:ext uri="{FF2B5EF4-FFF2-40B4-BE49-F238E27FC236}">
                <a16:creationId xmlns:a16="http://schemas.microsoft.com/office/drawing/2014/main" id="{C3CDA788-C8BC-43C9-A581-03D0E049D144}"/>
              </a:ext>
            </a:extLst>
          </p:cNvPr>
          <p:cNvSpPr>
            <a:spLocks noGrp="1"/>
          </p:cNvSpPr>
          <p:nvPr>
            <p:ph type="ftr" sz="quarter" idx="3"/>
          </p:nvPr>
        </p:nvSpPr>
        <p:spPr>
          <a:xfrm>
            <a:off x="859923" y="4554900"/>
            <a:ext cx="3570889" cy="273844"/>
          </a:xfrm>
          <a:prstGeom prst="rect">
            <a:avLst/>
          </a:prstGeom>
        </p:spPr>
        <p:txBody>
          <a:bodyPr vert="horz" lIns="91440" tIns="45720" rIns="91440" bIns="45720" rtlCol="0" anchor="ctr"/>
          <a:lstStyle>
            <a:lvl1pPr algn="l">
              <a:defRPr sz="825">
                <a:solidFill>
                  <a:schemeClr val="tx2">
                    <a:lumMod val="40000"/>
                    <a:lumOff val="60000"/>
                  </a:schemeClr>
                </a:solidFill>
              </a:defRPr>
            </a:lvl1pPr>
          </a:lstStyle>
          <a:p>
            <a:r>
              <a:rPr lang="nl-NL"/>
              <a:t>Name Surname  |  Congress/event</a:t>
            </a:r>
            <a:endParaRPr lang="nl-NL" dirty="0"/>
          </a:p>
        </p:txBody>
      </p:sp>
      <p:sp>
        <p:nvSpPr>
          <p:cNvPr id="6" name="Tijdelijke aanduiding voor dianummer 5">
            <a:extLst>
              <a:ext uri="{FF2B5EF4-FFF2-40B4-BE49-F238E27FC236}">
                <a16:creationId xmlns:a16="http://schemas.microsoft.com/office/drawing/2014/main" id="{820B0E81-3B52-4998-8953-800B819F0935}"/>
              </a:ext>
            </a:extLst>
          </p:cNvPr>
          <p:cNvSpPr>
            <a:spLocks noGrp="1"/>
          </p:cNvSpPr>
          <p:nvPr>
            <p:ph type="sldNum" sz="quarter" idx="4"/>
          </p:nvPr>
        </p:nvSpPr>
        <p:spPr>
          <a:xfrm>
            <a:off x="8100457" y="4554900"/>
            <a:ext cx="590852" cy="273844"/>
          </a:xfrm>
          <a:prstGeom prst="rect">
            <a:avLst/>
          </a:prstGeom>
        </p:spPr>
        <p:txBody>
          <a:bodyPr vert="horz" lIns="91440" tIns="45720" rIns="91440" bIns="45720" rtlCol="0" anchor="ctr"/>
          <a:lstStyle>
            <a:lvl1pPr algn="r">
              <a:defRPr sz="825">
                <a:solidFill>
                  <a:schemeClr val="tx2">
                    <a:lumMod val="40000"/>
                    <a:lumOff val="60000"/>
                  </a:schemeClr>
                </a:solidFill>
              </a:defRPr>
            </a:lvl1pPr>
          </a:lstStyle>
          <a:p>
            <a:fld id="{CF26CF14-CA55-4C05-9804-096C821AFF5B}" type="slidenum">
              <a:rPr lang="nl-NL" smtClean="0"/>
              <a:pPr/>
              <a:t>‹Nr.›</a:t>
            </a:fld>
            <a:endParaRPr lang="nl-NL" dirty="0"/>
          </a:p>
        </p:txBody>
      </p:sp>
      <p:pic>
        <p:nvPicPr>
          <p:cNvPr id="14" name="Afbeelding 13">
            <a:extLst>
              <a:ext uri="{FF2B5EF4-FFF2-40B4-BE49-F238E27FC236}">
                <a16:creationId xmlns:a16="http://schemas.microsoft.com/office/drawing/2014/main" id="{BD70F396-9D15-4057-A7C2-58B08A3372F5}"/>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025454" y="1"/>
            <a:ext cx="120540" cy="998762"/>
          </a:xfrm>
          <a:prstGeom prst="rect">
            <a:avLst/>
          </a:prstGeom>
        </p:spPr>
      </p:pic>
      <p:cxnSp>
        <p:nvCxnSpPr>
          <p:cNvPr id="28" name="Rechte verbindingslijn 27">
            <a:extLst>
              <a:ext uri="{FF2B5EF4-FFF2-40B4-BE49-F238E27FC236}">
                <a16:creationId xmlns:a16="http://schemas.microsoft.com/office/drawing/2014/main" id="{3AE83F09-AB9A-4A63-9E26-72CDB273A38F}"/>
              </a:ext>
            </a:extLst>
          </p:cNvPr>
          <p:cNvCxnSpPr/>
          <p:nvPr userDrawn="1"/>
        </p:nvCxnSpPr>
        <p:spPr>
          <a:xfrm>
            <a:off x="0" y="995963"/>
            <a:ext cx="3735422" cy="0"/>
          </a:xfrm>
          <a:prstGeom prst="line">
            <a:avLst/>
          </a:prstGeom>
          <a:ln w="25400" cap="rnd"/>
        </p:spPr>
        <p:style>
          <a:lnRef idx="1">
            <a:schemeClr val="accent1"/>
          </a:lnRef>
          <a:fillRef idx="0">
            <a:schemeClr val="accent1"/>
          </a:fillRef>
          <a:effectRef idx="0">
            <a:schemeClr val="accent1"/>
          </a:effectRef>
          <a:fontRef idx="minor">
            <a:schemeClr val="tx1"/>
          </a:fontRef>
        </p:style>
      </p:cxnSp>
      <p:pic>
        <p:nvPicPr>
          <p:cNvPr id="1030" name="Afbeelding 1029">
            <a:extLst>
              <a:ext uri="{FF2B5EF4-FFF2-40B4-BE49-F238E27FC236}">
                <a16:creationId xmlns:a16="http://schemas.microsoft.com/office/drawing/2014/main" id="{65CF8843-DEAD-43E7-A688-E9E1996CE95A}"/>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13433" y="4603501"/>
            <a:ext cx="376476" cy="370403"/>
          </a:xfrm>
          <a:prstGeom prst="rect">
            <a:avLst/>
          </a:prstGeom>
        </p:spPr>
      </p:pic>
      <p:sp>
        <p:nvSpPr>
          <p:cNvPr id="7" name="Tekstvak 6">
            <a:extLst>
              <a:ext uri="{FF2B5EF4-FFF2-40B4-BE49-F238E27FC236}">
                <a16:creationId xmlns:a16="http://schemas.microsoft.com/office/drawing/2014/main" id="{AE9E0087-4B1F-49F6-840E-E51EFCB56C9B}"/>
              </a:ext>
            </a:extLst>
          </p:cNvPr>
          <p:cNvSpPr txBox="1"/>
          <p:nvPr userDrawn="1"/>
        </p:nvSpPr>
        <p:spPr>
          <a:xfrm>
            <a:off x="-1656257" y="127319"/>
            <a:ext cx="1640193" cy="415498"/>
          </a:xfrm>
          <a:prstGeom prst="rect">
            <a:avLst/>
          </a:prstGeom>
          <a:noFill/>
        </p:spPr>
        <p:txBody>
          <a:bodyPr wrap="none" rtlCol="0">
            <a:spAutoFit/>
          </a:bodyPr>
          <a:lstStyle/>
          <a:p>
            <a:r>
              <a:rPr lang="en-GB" sz="1050" noProof="0" dirty="0">
                <a:solidFill>
                  <a:schemeClr val="bg2"/>
                </a:solidFill>
              </a:rPr>
              <a:t>Colours you can use</a:t>
            </a:r>
            <a:br>
              <a:rPr lang="en-GB" sz="1050" noProof="0" dirty="0">
                <a:solidFill>
                  <a:schemeClr val="bg2"/>
                </a:solidFill>
              </a:rPr>
            </a:br>
            <a:r>
              <a:rPr lang="en-GB" sz="1050" noProof="0" dirty="0">
                <a:solidFill>
                  <a:schemeClr val="bg2"/>
                </a:solidFill>
              </a:rPr>
              <a:t>from the colour palette</a:t>
            </a:r>
          </a:p>
        </p:txBody>
      </p:sp>
      <p:sp>
        <p:nvSpPr>
          <p:cNvPr id="15" name="Tekstvak 14">
            <a:extLst>
              <a:ext uri="{FF2B5EF4-FFF2-40B4-BE49-F238E27FC236}">
                <a16:creationId xmlns:a16="http://schemas.microsoft.com/office/drawing/2014/main" id="{CEBB7260-3041-4FA8-804F-1508C5166B67}"/>
              </a:ext>
            </a:extLst>
          </p:cNvPr>
          <p:cNvSpPr txBox="1"/>
          <p:nvPr userDrawn="1"/>
        </p:nvSpPr>
        <p:spPr>
          <a:xfrm>
            <a:off x="-1329856" y="558116"/>
            <a:ext cx="963725" cy="253916"/>
          </a:xfrm>
          <a:prstGeom prst="rect">
            <a:avLst/>
          </a:prstGeom>
          <a:noFill/>
        </p:spPr>
        <p:txBody>
          <a:bodyPr wrap="none" rtlCol="0">
            <a:spAutoFit/>
          </a:bodyPr>
          <a:lstStyle/>
          <a:p>
            <a:pPr algn="l"/>
            <a:r>
              <a:rPr lang="nl-NL" sz="1050" dirty="0">
                <a:solidFill>
                  <a:schemeClr val="bg2"/>
                </a:solidFill>
              </a:rPr>
              <a:t>230 / 130 / 0</a:t>
            </a:r>
          </a:p>
        </p:txBody>
      </p:sp>
      <p:sp>
        <p:nvSpPr>
          <p:cNvPr id="12" name="Rechthoek 11">
            <a:extLst>
              <a:ext uri="{FF2B5EF4-FFF2-40B4-BE49-F238E27FC236}">
                <a16:creationId xmlns:a16="http://schemas.microsoft.com/office/drawing/2014/main" id="{824A7630-8387-41C4-9F4C-9F495A494852}"/>
              </a:ext>
            </a:extLst>
          </p:cNvPr>
          <p:cNvSpPr/>
          <p:nvPr userDrawn="1"/>
        </p:nvSpPr>
        <p:spPr>
          <a:xfrm>
            <a:off x="-1539803" y="592889"/>
            <a:ext cx="161286" cy="1612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7" name="Tekstvak 16">
            <a:extLst>
              <a:ext uri="{FF2B5EF4-FFF2-40B4-BE49-F238E27FC236}">
                <a16:creationId xmlns:a16="http://schemas.microsoft.com/office/drawing/2014/main" id="{168FF990-6680-4B40-A836-1BD155BA7663}"/>
              </a:ext>
            </a:extLst>
          </p:cNvPr>
          <p:cNvSpPr txBox="1"/>
          <p:nvPr userDrawn="1"/>
        </p:nvSpPr>
        <p:spPr>
          <a:xfrm>
            <a:off x="-1329856" y="827329"/>
            <a:ext cx="1040670" cy="253916"/>
          </a:xfrm>
          <a:prstGeom prst="rect">
            <a:avLst/>
          </a:prstGeom>
          <a:noFill/>
        </p:spPr>
        <p:txBody>
          <a:bodyPr wrap="none" rtlCol="0">
            <a:spAutoFit/>
          </a:bodyPr>
          <a:lstStyle/>
          <a:p>
            <a:pPr algn="l"/>
            <a:r>
              <a:rPr lang="nl-NL" sz="1050" dirty="0">
                <a:solidFill>
                  <a:schemeClr val="bg2"/>
                </a:solidFill>
              </a:rPr>
              <a:t>66 / 103 / 127</a:t>
            </a:r>
          </a:p>
        </p:txBody>
      </p:sp>
      <p:sp>
        <p:nvSpPr>
          <p:cNvPr id="18" name="Rechthoek 17">
            <a:extLst>
              <a:ext uri="{FF2B5EF4-FFF2-40B4-BE49-F238E27FC236}">
                <a16:creationId xmlns:a16="http://schemas.microsoft.com/office/drawing/2014/main" id="{ACAA715D-60D7-445E-950C-A9C64264646D}"/>
              </a:ext>
            </a:extLst>
          </p:cNvPr>
          <p:cNvSpPr/>
          <p:nvPr userDrawn="1"/>
        </p:nvSpPr>
        <p:spPr>
          <a:xfrm>
            <a:off x="-1539803" y="862102"/>
            <a:ext cx="161286" cy="1612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9" name="Tekstvak 18">
            <a:extLst>
              <a:ext uri="{FF2B5EF4-FFF2-40B4-BE49-F238E27FC236}">
                <a16:creationId xmlns:a16="http://schemas.microsoft.com/office/drawing/2014/main" id="{3375ACB5-9D43-4919-8788-A29540D290B1}"/>
              </a:ext>
            </a:extLst>
          </p:cNvPr>
          <p:cNvSpPr txBox="1"/>
          <p:nvPr userDrawn="1"/>
        </p:nvSpPr>
        <p:spPr>
          <a:xfrm>
            <a:off x="-1329856" y="1096542"/>
            <a:ext cx="886781" cy="253916"/>
          </a:xfrm>
          <a:prstGeom prst="rect">
            <a:avLst/>
          </a:prstGeom>
          <a:noFill/>
        </p:spPr>
        <p:txBody>
          <a:bodyPr wrap="none" rtlCol="0">
            <a:spAutoFit/>
          </a:bodyPr>
          <a:lstStyle/>
          <a:p>
            <a:pPr algn="l"/>
            <a:r>
              <a:rPr lang="nl-NL" sz="1050" dirty="0">
                <a:solidFill>
                  <a:schemeClr val="bg2"/>
                </a:solidFill>
              </a:rPr>
              <a:t>94 / 179 / 5</a:t>
            </a:r>
          </a:p>
        </p:txBody>
      </p:sp>
      <p:sp>
        <p:nvSpPr>
          <p:cNvPr id="20" name="Rechthoek 19">
            <a:extLst>
              <a:ext uri="{FF2B5EF4-FFF2-40B4-BE49-F238E27FC236}">
                <a16:creationId xmlns:a16="http://schemas.microsoft.com/office/drawing/2014/main" id="{31353075-2B89-4C0B-876D-DD1CD854E32C}"/>
              </a:ext>
            </a:extLst>
          </p:cNvPr>
          <p:cNvSpPr/>
          <p:nvPr userDrawn="1"/>
        </p:nvSpPr>
        <p:spPr>
          <a:xfrm>
            <a:off x="-1539803" y="1131315"/>
            <a:ext cx="161286" cy="1612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21" name="Tekstvak 20">
            <a:extLst>
              <a:ext uri="{FF2B5EF4-FFF2-40B4-BE49-F238E27FC236}">
                <a16:creationId xmlns:a16="http://schemas.microsoft.com/office/drawing/2014/main" id="{562EC549-450B-40B7-80B7-2E5B787B0F74}"/>
              </a:ext>
            </a:extLst>
          </p:cNvPr>
          <p:cNvSpPr txBox="1"/>
          <p:nvPr userDrawn="1"/>
        </p:nvSpPr>
        <p:spPr>
          <a:xfrm>
            <a:off x="-1329856" y="1365755"/>
            <a:ext cx="963725" cy="253916"/>
          </a:xfrm>
          <a:prstGeom prst="rect">
            <a:avLst/>
          </a:prstGeom>
          <a:noFill/>
        </p:spPr>
        <p:txBody>
          <a:bodyPr wrap="none" rtlCol="0">
            <a:spAutoFit/>
          </a:bodyPr>
          <a:lstStyle/>
          <a:p>
            <a:pPr algn="l"/>
            <a:r>
              <a:rPr lang="nl-NL" sz="1050" dirty="0">
                <a:solidFill>
                  <a:schemeClr val="bg2"/>
                </a:solidFill>
              </a:rPr>
              <a:t>57 / 87 / 163</a:t>
            </a:r>
          </a:p>
        </p:txBody>
      </p:sp>
      <p:sp>
        <p:nvSpPr>
          <p:cNvPr id="22" name="Rechthoek 21">
            <a:extLst>
              <a:ext uri="{FF2B5EF4-FFF2-40B4-BE49-F238E27FC236}">
                <a16:creationId xmlns:a16="http://schemas.microsoft.com/office/drawing/2014/main" id="{2CCE84B7-282D-4BA5-AA3B-3BBA12C0BAC9}"/>
              </a:ext>
            </a:extLst>
          </p:cNvPr>
          <p:cNvSpPr/>
          <p:nvPr userDrawn="1"/>
        </p:nvSpPr>
        <p:spPr>
          <a:xfrm>
            <a:off x="-1539803" y="1400528"/>
            <a:ext cx="161286" cy="1612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23" name="Tekstvak 22">
            <a:extLst>
              <a:ext uri="{FF2B5EF4-FFF2-40B4-BE49-F238E27FC236}">
                <a16:creationId xmlns:a16="http://schemas.microsoft.com/office/drawing/2014/main" id="{913F1C8B-D55C-46D5-8E94-3BC739783825}"/>
              </a:ext>
            </a:extLst>
          </p:cNvPr>
          <p:cNvSpPr txBox="1"/>
          <p:nvPr userDrawn="1"/>
        </p:nvSpPr>
        <p:spPr>
          <a:xfrm>
            <a:off x="-1329856" y="1634969"/>
            <a:ext cx="1040670" cy="253916"/>
          </a:xfrm>
          <a:prstGeom prst="rect">
            <a:avLst/>
          </a:prstGeom>
          <a:noFill/>
        </p:spPr>
        <p:txBody>
          <a:bodyPr wrap="none" rtlCol="0">
            <a:spAutoFit/>
          </a:bodyPr>
          <a:lstStyle/>
          <a:p>
            <a:pPr algn="l"/>
            <a:r>
              <a:rPr lang="nl-NL" sz="1050" dirty="0">
                <a:solidFill>
                  <a:schemeClr val="bg2"/>
                </a:solidFill>
              </a:rPr>
              <a:t>69 / 133 / 136</a:t>
            </a:r>
          </a:p>
        </p:txBody>
      </p:sp>
      <p:sp>
        <p:nvSpPr>
          <p:cNvPr id="24" name="Rechthoek 23">
            <a:extLst>
              <a:ext uri="{FF2B5EF4-FFF2-40B4-BE49-F238E27FC236}">
                <a16:creationId xmlns:a16="http://schemas.microsoft.com/office/drawing/2014/main" id="{442A86BD-59A5-48A2-9F87-F628C4659469}"/>
              </a:ext>
            </a:extLst>
          </p:cNvPr>
          <p:cNvSpPr/>
          <p:nvPr userDrawn="1"/>
        </p:nvSpPr>
        <p:spPr>
          <a:xfrm>
            <a:off x="-1539803" y="1669742"/>
            <a:ext cx="161286" cy="1612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grpSp>
        <p:nvGrpSpPr>
          <p:cNvPr id="11" name="Groep 10">
            <a:extLst>
              <a:ext uri="{FF2B5EF4-FFF2-40B4-BE49-F238E27FC236}">
                <a16:creationId xmlns:a16="http://schemas.microsoft.com/office/drawing/2014/main" id="{DE98A86A-946A-481C-AD49-4ECB4466EFFD}"/>
              </a:ext>
            </a:extLst>
          </p:cNvPr>
          <p:cNvGrpSpPr/>
          <p:nvPr userDrawn="1"/>
        </p:nvGrpSpPr>
        <p:grpSpPr>
          <a:xfrm>
            <a:off x="-1705708" y="102394"/>
            <a:ext cx="1594601" cy="1847752"/>
            <a:chOff x="-1989269" y="136525"/>
            <a:chExt cx="1710726" cy="2463669"/>
          </a:xfrm>
        </p:grpSpPr>
        <p:cxnSp>
          <p:nvCxnSpPr>
            <p:cNvPr id="9" name="Rechte verbindingslijn 8">
              <a:extLst>
                <a:ext uri="{FF2B5EF4-FFF2-40B4-BE49-F238E27FC236}">
                  <a16:creationId xmlns:a16="http://schemas.microsoft.com/office/drawing/2014/main" id="{A2CA6ED0-99F3-4BD1-A890-99F5A0A7475D}"/>
                </a:ext>
              </a:extLst>
            </p:cNvPr>
            <p:cNvCxnSpPr>
              <a:cxnSpLocks/>
            </p:cNvCxnSpPr>
            <p:nvPr userDrawn="1"/>
          </p:nvCxnSpPr>
          <p:spPr>
            <a:xfrm flipH="1">
              <a:off x="-1989269" y="136525"/>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Rechte verbindingslijn 24">
              <a:extLst>
                <a:ext uri="{FF2B5EF4-FFF2-40B4-BE49-F238E27FC236}">
                  <a16:creationId xmlns:a16="http://schemas.microsoft.com/office/drawing/2014/main" id="{4F9DBFAC-9644-4491-BD6D-DB9F32B9D223}"/>
                </a:ext>
              </a:extLst>
            </p:cNvPr>
            <p:cNvCxnSpPr>
              <a:cxnSpLocks/>
            </p:cNvCxnSpPr>
            <p:nvPr userDrawn="1"/>
          </p:nvCxnSpPr>
          <p:spPr>
            <a:xfrm flipH="1">
              <a:off x="-1989269" y="692107"/>
              <a:ext cx="1710726" cy="0"/>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Rechte verbindingslijn 25">
              <a:extLst>
                <a:ext uri="{FF2B5EF4-FFF2-40B4-BE49-F238E27FC236}">
                  <a16:creationId xmlns:a16="http://schemas.microsoft.com/office/drawing/2014/main" id="{C62C0298-2532-4B79-B7D6-9120FFAF5FE7}"/>
                </a:ext>
              </a:extLst>
            </p:cNvPr>
            <p:cNvCxnSpPr>
              <a:cxnSpLocks/>
            </p:cNvCxnSpPr>
            <p:nvPr userDrawn="1"/>
          </p:nvCxnSpPr>
          <p:spPr>
            <a:xfrm flipH="1">
              <a:off x="-1989269" y="2600194"/>
              <a:ext cx="1710726"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7" name="Tekstvak 26">
            <a:extLst>
              <a:ext uri="{FF2B5EF4-FFF2-40B4-BE49-F238E27FC236}">
                <a16:creationId xmlns:a16="http://schemas.microsoft.com/office/drawing/2014/main" id="{3604120A-74F3-4913-9C0C-C316E84178BC}"/>
              </a:ext>
            </a:extLst>
          </p:cNvPr>
          <p:cNvSpPr txBox="1"/>
          <p:nvPr userDrawn="1"/>
        </p:nvSpPr>
        <p:spPr>
          <a:xfrm>
            <a:off x="9390253" y="4289986"/>
            <a:ext cx="1087157" cy="415498"/>
          </a:xfrm>
          <a:prstGeom prst="rect">
            <a:avLst/>
          </a:prstGeom>
          <a:noFill/>
        </p:spPr>
        <p:txBody>
          <a:bodyPr wrap="none" rtlCol="0">
            <a:spAutoFit/>
          </a:bodyPr>
          <a:lstStyle/>
          <a:p>
            <a:r>
              <a:rPr lang="nl-NL" sz="1050" dirty="0">
                <a:solidFill>
                  <a:schemeClr val="bg2"/>
                </a:solidFill>
              </a:rPr>
              <a:t>No content</a:t>
            </a:r>
            <a:br>
              <a:rPr lang="nl-NL" sz="1050" dirty="0">
                <a:solidFill>
                  <a:schemeClr val="bg2"/>
                </a:solidFill>
              </a:rPr>
            </a:br>
            <a:r>
              <a:rPr lang="nl-NL" sz="1050" dirty="0">
                <a:solidFill>
                  <a:schemeClr val="bg2"/>
                </a:solidFill>
              </a:rPr>
              <a:t>below </a:t>
            </a:r>
            <a:r>
              <a:rPr lang="nl-NL" sz="1050" dirty="0" err="1">
                <a:solidFill>
                  <a:schemeClr val="bg2"/>
                </a:solidFill>
              </a:rPr>
              <a:t>this</a:t>
            </a:r>
            <a:r>
              <a:rPr lang="nl-NL" sz="1050" dirty="0">
                <a:solidFill>
                  <a:schemeClr val="bg2"/>
                </a:solidFill>
              </a:rPr>
              <a:t> line</a:t>
            </a:r>
          </a:p>
        </p:txBody>
      </p:sp>
      <p:sp>
        <p:nvSpPr>
          <p:cNvPr id="29" name="Gelijkbenige driehoek 28">
            <a:extLst>
              <a:ext uri="{FF2B5EF4-FFF2-40B4-BE49-F238E27FC236}">
                <a16:creationId xmlns:a16="http://schemas.microsoft.com/office/drawing/2014/main" id="{35426E9F-4CB0-4951-8E6D-27D9E43F8FB0}"/>
              </a:ext>
            </a:extLst>
          </p:cNvPr>
          <p:cNvSpPr/>
          <p:nvPr userDrawn="1"/>
        </p:nvSpPr>
        <p:spPr>
          <a:xfrm rot="16200000">
            <a:off x="9229528" y="4365513"/>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42" name="Tekstvak 41">
            <a:extLst>
              <a:ext uri="{FF2B5EF4-FFF2-40B4-BE49-F238E27FC236}">
                <a16:creationId xmlns:a16="http://schemas.microsoft.com/office/drawing/2014/main" id="{19F5D8FD-2232-476F-899E-0FBB35A1C3F0}"/>
              </a:ext>
            </a:extLst>
          </p:cNvPr>
          <p:cNvSpPr txBox="1"/>
          <p:nvPr userDrawn="1"/>
        </p:nvSpPr>
        <p:spPr>
          <a:xfrm>
            <a:off x="2520006" y="5188272"/>
            <a:ext cx="5665333" cy="1061829"/>
          </a:xfrm>
          <a:prstGeom prst="rect">
            <a:avLst/>
          </a:prstGeom>
          <a:noFill/>
        </p:spPr>
        <p:txBody>
          <a:bodyPr wrap="none" rtlCol="0">
            <a:spAutoFit/>
          </a:bodyPr>
          <a:lstStyle/>
          <a:p>
            <a:r>
              <a:rPr lang="en-US" sz="1050" b="0" dirty="0">
                <a:solidFill>
                  <a:schemeClr val="bg2"/>
                </a:solidFill>
              </a:rPr>
              <a:t>To edit </a:t>
            </a:r>
            <a:r>
              <a:rPr lang="en-US" sz="1050" b="1" dirty="0">
                <a:solidFill>
                  <a:schemeClr val="bg2"/>
                </a:solidFill>
              </a:rPr>
              <a:t>Name Surname | Congress/event </a:t>
            </a:r>
            <a:r>
              <a:rPr lang="en-US" sz="1050" dirty="0">
                <a:solidFill>
                  <a:schemeClr val="bg2"/>
                </a:solidFill>
              </a:rPr>
              <a:t>- go to:</a:t>
            </a:r>
            <a:br>
              <a:rPr lang="en-US" sz="1050" dirty="0">
                <a:solidFill>
                  <a:schemeClr val="bg2"/>
                </a:solidFill>
              </a:rPr>
            </a:br>
            <a:r>
              <a:rPr lang="en-US" sz="1050" dirty="0">
                <a:solidFill>
                  <a:schemeClr val="bg2"/>
                </a:solidFill>
              </a:rPr>
              <a:t>Insert &gt; Header and Footer text &gt; Edit the text next to the checked</a:t>
            </a:r>
            <a:br>
              <a:rPr lang="en-US" sz="1050" dirty="0">
                <a:solidFill>
                  <a:schemeClr val="bg2"/>
                </a:solidFill>
              </a:rPr>
            </a:br>
            <a:r>
              <a:rPr lang="en-US" sz="1050" dirty="0">
                <a:solidFill>
                  <a:schemeClr val="bg2"/>
                </a:solidFill>
              </a:rPr>
              <a:t>Footer box &gt; Click ‘Apply to all’</a:t>
            </a:r>
          </a:p>
          <a:p>
            <a:endParaRPr lang="en-US" sz="1050" dirty="0">
              <a:solidFill>
                <a:schemeClr val="bg2"/>
              </a:solidFill>
            </a:endParaRPr>
          </a:p>
          <a:p>
            <a:r>
              <a:rPr lang="en-US" sz="1050" b="1" dirty="0">
                <a:solidFill>
                  <a:schemeClr val="bg2"/>
                </a:solidFill>
              </a:rPr>
              <a:t>Don't want a date and </a:t>
            </a:r>
            <a:r>
              <a:rPr lang="en-US" sz="1050" b="1" dirty="0" err="1">
                <a:solidFill>
                  <a:schemeClr val="bg2"/>
                </a:solidFill>
              </a:rPr>
              <a:t>footertext</a:t>
            </a:r>
            <a:r>
              <a:rPr lang="en-US" sz="1050" b="1" dirty="0">
                <a:solidFill>
                  <a:schemeClr val="bg2"/>
                </a:solidFill>
              </a:rPr>
              <a:t>?</a:t>
            </a:r>
            <a:br>
              <a:rPr lang="en-US" sz="1050" b="1" dirty="0">
                <a:solidFill>
                  <a:schemeClr val="bg2"/>
                </a:solidFill>
              </a:rPr>
            </a:br>
            <a:r>
              <a:rPr lang="en-US" sz="1050" dirty="0">
                <a:solidFill>
                  <a:schemeClr val="bg2"/>
                </a:solidFill>
              </a:rPr>
              <a:t>Uncheck the footer and date box in the Header and Footer-dialogue &gt; Click 'Apply to all'</a:t>
            </a:r>
          </a:p>
        </p:txBody>
      </p:sp>
      <p:sp>
        <p:nvSpPr>
          <p:cNvPr id="43" name="Gelijkbenige driehoek 42">
            <a:extLst>
              <a:ext uri="{FF2B5EF4-FFF2-40B4-BE49-F238E27FC236}">
                <a16:creationId xmlns:a16="http://schemas.microsoft.com/office/drawing/2014/main" id="{E3E96BB4-7614-450E-A4BD-346FBF89C3E4}"/>
              </a:ext>
            </a:extLst>
          </p:cNvPr>
          <p:cNvSpPr/>
          <p:nvPr userDrawn="1"/>
        </p:nvSpPr>
        <p:spPr>
          <a:xfrm>
            <a:off x="2359281" y="5263799"/>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30" name="Tekstvak 29">
            <a:extLst>
              <a:ext uri="{FF2B5EF4-FFF2-40B4-BE49-F238E27FC236}">
                <a16:creationId xmlns:a16="http://schemas.microsoft.com/office/drawing/2014/main" id="{7D347FC8-28AB-41E4-A90B-6F8EEFC490AC}"/>
              </a:ext>
            </a:extLst>
          </p:cNvPr>
          <p:cNvSpPr txBox="1"/>
          <p:nvPr userDrawn="1"/>
        </p:nvSpPr>
        <p:spPr>
          <a:xfrm>
            <a:off x="9390253" y="1181642"/>
            <a:ext cx="1091966" cy="415498"/>
          </a:xfrm>
          <a:prstGeom prst="rect">
            <a:avLst/>
          </a:prstGeom>
          <a:noFill/>
        </p:spPr>
        <p:txBody>
          <a:bodyPr wrap="none" rtlCol="0">
            <a:spAutoFit/>
          </a:bodyPr>
          <a:lstStyle/>
          <a:p>
            <a:r>
              <a:rPr lang="nl-NL" sz="1050" dirty="0">
                <a:solidFill>
                  <a:schemeClr val="bg2"/>
                </a:solidFill>
              </a:rPr>
              <a:t>No content</a:t>
            </a:r>
            <a:br>
              <a:rPr lang="nl-NL" sz="1050" dirty="0">
                <a:solidFill>
                  <a:schemeClr val="bg2"/>
                </a:solidFill>
              </a:rPr>
            </a:br>
            <a:r>
              <a:rPr lang="nl-NL" sz="1050" dirty="0" err="1">
                <a:solidFill>
                  <a:schemeClr val="bg2"/>
                </a:solidFill>
              </a:rPr>
              <a:t>above</a:t>
            </a:r>
            <a:r>
              <a:rPr lang="nl-NL" sz="1050" dirty="0">
                <a:solidFill>
                  <a:schemeClr val="bg2"/>
                </a:solidFill>
              </a:rPr>
              <a:t> </a:t>
            </a:r>
            <a:r>
              <a:rPr lang="nl-NL" sz="1050" dirty="0" err="1">
                <a:solidFill>
                  <a:schemeClr val="bg2"/>
                </a:solidFill>
              </a:rPr>
              <a:t>this</a:t>
            </a:r>
            <a:r>
              <a:rPr lang="nl-NL" sz="1050" dirty="0">
                <a:solidFill>
                  <a:schemeClr val="bg2"/>
                </a:solidFill>
              </a:rPr>
              <a:t> line</a:t>
            </a:r>
          </a:p>
        </p:txBody>
      </p:sp>
      <p:sp>
        <p:nvSpPr>
          <p:cNvPr id="31" name="Gelijkbenige driehoek 30">
            <a:extLst>
              <a:ext uri="{FF2B5EF4-FFF2-40B4-BE49-F238E27FC236}">
                <a16:creationId xmlns:a16="http://schemas.microsoft.com/office/drawing/2014/main" id="{D86B6D5B-55CD-4151-B10E-963BB875D274}"/>
              </a:ext>
            </a:extLst>
          </p:cNvPr>
          <p:cNvSpPr/>
          <p:nvPr userDrawn="1"/>
        </p:nvSpPr>
        <p:spPr>
          <a:xfrm rot="16200000">
            <a:off x="9229528" y="1257169"/>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32" name="Tekstvak 31">
            <a:extLst>
              <a:ext uri="{FF2B5EF4-FFF2-40B4-BE49-F238E27FC236}">
                <a16:creationId xmlns:a16="http://schemas.microsoft.com/office/drawing/2014/main" id="{BA6D357D-42B5-4F74-BF68-3C7A3C465779}"/>
              </a:ext>
            </a:extLst>
          </p:cNvPr>
          <p:cNvSpPr txBox="1"/>
          <p:nvPr userDrawn="1"/>
        </p:nvSpPr>
        <p:spPr>
          <a:xfrm>
            <a:off x="8561601" y="5188272"/>
            <a:ext cx="1215397" cy="415498"/>
          </a:xfrm>
          <a:prstGeom prst="rect">
            <a:avLst/>
          </a:prstGeom>
          <a:noFill/>
        </p:spPr>
        <p:txBody>
          <a:bodyPr wrap="none" rtlCol="0">
            <a:spAutoFit/>
          </a:bodyPr>
          <a:lstStyle/>
          <a:p>
            <a:r>
              <a:rPr lang="en-US" sz="1050" b="0" dirty="0">
                <a:solidFill>
                  <a:schemeClr val="bg2"/>
                </a:solidFill>
              </a:rPr>
              <a:t>No content right</a:t>
            </a:r>
            <a:br>
              <a:rPr lang="en-US" sz="1050" b="0" dirty="0">
                <a:solidFill>
                  <a:schemeClr val="bg2"/>
                </a:solidFill>
              </a:rPr>
            </a:br>
            <a:r>
              <a:rPr lang="en-US" sz="1050" b="0" dirty="0">
                <a:solidFill>
                  <a:schemeClr val="bg2"/>
                </a:solidFill>
              </a:rPr>
              <a:t>of this line</a:t>
            </a:r>
            <a:endParaRPr lang="en-US" sz="1050" dirty="0">
              <a:solidFill>
                <a:schemeClr val="bg2"/>
              </a:solidFill>
            </a:endParaRPr>
          </a:p>
        </p:txBody>
      </p:sp>
      <p:sp>
        <p:nvSpPr>
          <p:cNvPr id="33" name="Gelijkbenige driehoek 32">
            <a:extLst>
              <a:ext uri="{FF2B5EF4-FFF2-40B4-BE49-F238E27FC236}">
                <a16:creationId xmlns:a16="http://schemas.microsoft.com/office/drawing/2014/main" id="{D146617A-6150-4561-B7DD-A9E3AEA248B7}"/>
              </a:ext>
            </a:extLst>
          </p:cNvPr>
          <p:cNvSpPr/>
          <p:nvPr userDrawn="1"/>
        </p:nvSpPr>
        <p:spPr>
          <a:xfrm>
            <a:off x="8400875" y="5263799"/>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34" name="Tekstvak 33">
            <a:extLst>
              <a:ext uri="{FF2B5EF4-FFF2-40B4-BE49-F238E27FC236}">
                <a16:creationId xmlns:a16="http://schemas.microsoft.com/office/drawing/2014/main" id="{E73B3C80-1F73-4C4B-A2F0-4C9C6D141AD1}"/>
              </a:ext>
            </a:extLst>
          </p:cNvPr>
          <p:cNvSpPr txBox="1"/>
          <p:nvPr userDrawn="1"/>
        </p:nvSpPr>
        <p:spPr>
          <a:xfrm>
            <a:off x="-323760" y="5188272"/>
            <a:ext cx="1124027" cy="415498"/>
          </a:xfrm>
          <a:prstGeom prst="rect">
            <a:avLst/>
          </a:prstGeom>
          <a:noFill/>
        </p:spPr>
        <p:txBody>
          <a:bodyPr wrap="none" rtlCol="0">
            <a:spAutoFit/>
          </a:bodyPr>
          <a:lstStyle/>
          <a:p>
            <a:pPr algn="r"/>
            <a:r>
              <a:rPr lang="en-US" sz="1050" b="0" dirty="0">
                <a:solidFill>
                  <a:schemeClr val="bg2"/>
                </a:solidFill>
              </a:rPr>
              <a:t>No content left</a:t>
            </a:r>
            <a:br>
              <a:rPr lang="en-US" sz="1050" b="0" dirty="0">
                <a:solidFill>
                  <a:schemeClr val="bg2"/>
                </a:solidFill>
              </a:rPr>
            </a:br>
            <a:r>
              <a:rPr lang="en-US" sz="1050" b="0" dirty="0">
                <a:solidFill>
                  <a:schemeClr val="bg2"/>
                </a:solidFill>
              </a:rPr>
              <a:t>of this line</a:t>
            </a:r>
            <a:endParaRPr lang="en-US" sz="1050" dirty="0">
              <a:solidFill>
                <a:schemeClr val="bg2"/>
              </a:solidFill>
            </a:endParaRPr>
          </a:p>
        </p:txBody>
      </p:sp>
      <p:sp>
        <p:nvSpPr>
          <p:cNvPr id="35" name="Gelijkbenige driehoek 34">
            <a:extLst>
              <a:ext uri="{FF2B5EF4-FFF2-40B4-BE49-F238E27FC236}">
                <a16:creationId xmlns:a16="http://schemas.microsoft.com/office/drawing/2014/main" id="{7B1373FE-CCE9-4943-A741-874426342C29}"/>
              </a:ext>
            </a:extLst>
          </p:cNvPr>
          <p:cNvSpPr/>
          <p:nvPr userDrawn="1"/>
        </p:nvSpPr>
        <p:spPr>
          <a:xfrm>
            <a:off x="794125" y="5263799"/>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8" name="Tekstvak 7">
            <a:extLst>
              <a:ext uri="{FF2B5EF4-FFF2-40B4-BE49-F238E27FC236}">
                <a16:creationId xmlns:a16="http://schemas.microsoft.com/office/drawing/2014/main" id="{7F37E0D2-8AAE-4042-97F8-7B885754870A}"/>
              </a:ext>
            </a:extLst>
          </p:cNvPr>
          <p:cNvSpPr txBox="1"/>
          <p:nvPr userDrawn="1"/>
        </p:nvSpPr>
        <p:spPr>
          <a:xfrm>
            <a:off x="8565173" y="4554900"/>
            <a:ext cx="364514" cy="272700"/>
          </a:xfrm>
          <a:prstGeom prst="rect">
            <a:avLst/>
          </a:prstGeom>
        </p:spPr>
        <p:txBody>
          <a:bodyPr vert="horz" lIns="68580" tIns="34290" rIns="68580" bIns="34290" rtlCol="0" anchor="ctr"/>
          <a:lstStyle>
            <a:defPPr>
              <a:defRPr lang="nl-NL"/>
            </a:defPPr>
            <a:lvl1pPr algn="r">
              <a:defRPr sz="1300">
                <a:solidFill>
                  <a:schemeClr val="tx2">
                    <a:lumMod val="40000"/>
                    <a:lumOff val="60000"/>
                  </a:schemeClr>
                </a:solidFill>
              </a:defRPr>
            </a:lvl1pPr>
          </a:lstStyle>
          <a:p>
            <a:pPr lvl="0" algn="l"/>
            <a:r>
              <a:rPr lang="nl-NL" sz="825" dirty="0"/>
              <a:t>/12</a:t>
            </a:r>
          </a:p>
        </p:txBody>
      </p:sp>
      <p:sp>
        <p:nvSpPr>
          <p:cNvPr id="39" name="Tekstvak 38">
            <a:extLst>
              <a:ext uri="{FF2B5EF4-FFF2-40B4-BE49-F238E27FC236}">
                <a16:creationId xmlns:a16="http://schemas.microsoft.com/office/drawing/2014/main" id="{F3618288-10B5-4ECD-B4E2-6F446368A160}"/>
              </a:ext>
            </a:extLst>
          </p:cNvPr>
          <p:cNvSpPr txBox="1"/>
          <p:nvPr userDrawn="1"/>
        </p:nvSpPr>
        <p:spPr>
          <a:xfrm>
            <a:off x="9390253" y="4658338"/>
            <a:ext cx="1273105" cy="577081"/>
          </a:xfrm>
          <a:prstGeom prst="rect">
            <a:avLst/>
          </a:prstGeom>
          <a:noFill/>
        </p:spPr>
        <p:txBody>
          <a:bodyPr wrap="none" rtlCol="0">
            <a:spAutoFit/>
          </a:bodyPr>
          <a:lstStyle/>
          <a:p>
            <a:r>
              <a:rPr lang="nl-NL" sz="1050" dirty="0" err="1">
                <a:solidFill>
                  <a:schemeClr val="bg2"/>
                </a:solidFill>
              </a:rPr>
              <a:t>Manually</a:t>
            </a:r>
            <a:r>
              <a:rPr lang="nl-NL" sz="1050" dirty="0">
                <a:solidFill>
                  <a:schemeClr val="bg2"/>
                </a:solidFill>
              </a:rPr>
              <a:t> change</a:t>
            </a:r>
            <a:br>
              <a:rPr lang="nl-NL" sz="1050" dirty="0">
                <a:solidFill>
                  <a:schemeClr val="bg2"/>
                </a:solidFill>
              </a:rPr>
            </a:br>
            <a:r>
              <a:rPr lang="nl-NL" sz="1050" dirty="0">
                <a:solidFill>
                  <a:schemeClr val="bg2"/>
                </a:solidFill>
              </a:rPr>
              <a:t>/12 to the correct</a:t>
            </a:r>
            <a:br>
              <a:rPr lang="nl-NL" sz="1050" dirty="0">
                <a:solidFill>
                  <a:schemeClr val="bg2"/>
                </a:solidFill>
              </a:rPr>
            </a:br>
            <a:r>
              <a:rPr lang="nl-NL" sz="1050" dirty="0" err="1">
                <a:solidFill>
                  <a:schemeClr val="bg2"/>
                </a:solidFill>
              </a:rPr>
              <a:t>total</a:t>
            </a:r>
            <a:r>
              <a:rPr lang="nl-NL" sz="1050" dirty="0">
                <a:solidFill>
                  <a:schemeClr val="bg2"/>
                </a:solidFill>
              </a:rPr>
              <a:t> # of slides</a:t>
            </a:r>
          </a:p>
        </p:txBody>
      </p:sp>
      <p:sp>
        <p:nvSpPr>
          <p:cNvPr id="40" name="Gelijkbenige driehoek 39">
            <a:extLst>
              <a:ext uri="{FF2B5EF4-FFF2-40B4-BE49-F238E27FC236}">
                <a16:creationId xmlns:a16="http://schemas.microsoft.com/office/drawing/2014/main" id="{D72BD59B-0D58-4FD7-A1E5-ED24FCF5142B}"/>
              </a:ext>
            </a:extLst>
          </p:cNvPr>
          <p:cNvSpPr/>
          <p:nvPr userDrawn="1"/>
        </p:nvSpPr>
        <p:spPr>
          <a:xfrm rot="16200000">
            <a:off x="9229528" y="4733864"/>
            <a:ext cx="162878" cy="14041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Tree>
    <p:extLst>
      <p:ext uri="{BB962C8B-B14F-4D97-AF65-F5344CB8AC3E}">
        <p14:creationId xmlns:p14="http://schemas.microsoft.com/office/powerpoint/2010/main" val="226526159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685800" rtl="0" eaLnBrk="1" latinLnBrk="0" hangingPunct="1">
        <a:lnSpc>
          <a:spcPct val="90000"/>
        </a:lnSpc>
        <a:spcBef>
          <a:spcPct val="0"/>
        </a:spcBef>
        <a:buNone/>
        <a:defRPr sz="2025" b="1"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SzPct val="120000"/>
        <a:buFont typeface="Arial" panose="020B0604020202020204" pitchFamily="34" charset="0"/>
        <a:buNone/>
        <a:defRPr sz="1350" kern="1200">
          <a:solidFill>
            <a:schemeClr val="bg2"/>
          </a:solidFill>
          <a:latin typeface="+mn-lt"/>
          <a:ea typeface="+mn-ea"/>
          <a:cs typeface="+mn-cs"/>
        </a:defRPr>
      </a:lvl1pPr>
      <a:lvl2pPr marL="289322" indent="-139304" algn="l" defTabSz="685800" rtl="0" eaLnBrk="1" latinLnBrk="0" hangingPunct="1">
        <a:lnSpc>
          <a:spcPct val="90000"/>
        </a:lnSpc>
        <a:spcBef>
          <a:spcPts val="300"/>
        </a:spcBef>
        <a:buSzPct val="100000"/>
        <a:buFont typeface="Arial" panose="020B0604020202020204" pitchFamily="34" charset="0"/>
        <a:buChar char="•"/>
        <a:defRPr sz="1200" kern="1200">
          <a:solidFill>
            <a:schemeClr val="accent6"/>
          </a:solidFill>
          <a:latin typeface="+mn-lt"/>
          <a:ea typeface="+mn-ea"/>
          <a:cs typeface="+mn-cs"/>
        </a:defRPr>
      </a:lvl2pPr>
      <a:lvl3pPr marL="738188" indent="-115491" algn="l" defTabSz="685800" rtl="0" eaLnBrk="1" latinLnBrk="0" hangingPunct="1">
        <a:lnSpc>
          <a:spcPct val="90000"/>
        </a:lnSpc>
        <a:spcBef>
          <a:spcPts val="300"/>
        </a:spcBef>
        <a:buSzPct val="100000"/>
        <a:buFont typeface="Arial" panose="020B0604020202020204" pitchFamily="34" charset="0"/>
        <a:buChar char="­"/>
        <a:defRPr sz="1200" kern="1200">
          <a:solidFill>
            <a:schemeClr val="accent6"/>
          </a:solidFill>
          <a:latin typeface="+mn-lt"/>
          <a:ea typeface="+mn-ea"/>
          <a:cs typeface="+mn-cs"/>
        </a:defRPr>
      </a:lvl3pPr>
      <a:lvl4pPr marL="1198960" indent="-120254" algn="l" defTabSz="685800" rtl="0" eaLnBrk="1" latinLnBrk="0" hangingPunct="1">
        <a:lnSpc>
          <a:spcPct val="90000"/>
        </a:lnSpc>
        <a:spcBef>
          <a:spcPts val="300"/>
        </a:spcBef>
        <a:buSzPct val="100000"/>
        <a:buFont typeface="Arial" panose="020B0604020202020204" pitchFamily="34" charset="0"/>
        <a:buChar char="•"/>
        <a:defRPr sz="1200" kern="1200">
          <a:solidFill>
            <a:schemeClr val="accent6"/>
          </a:solidFill>
          <a:latin typeface="+mn-lt"/>
          <a:ea typeface="+mn-ea"/>
          <a:cs typeface="+mn-cs"/>
        </a:defRPr>
      </a:lvl4pPr>
      <a:lvl5pPr marL="1657350" indent="-119063" algn="l" defTabSz="685800" rtl="0" eaLnBrk="1" latinLnBrk="0" hangingPunct="1">
        <a:lnSpc>
          <a:spcPct val="90000"/>
        </a:lnSpc>
        <a:spcBef>
          <a:spcPts val="300"/>
        </a:spcBef>
        <a:buSzPct val="100000"/>
        <a:buFont typeface="Arial" panose="020B0604020202020204" pitchFamily="34" charset="0"/>
        <a:buChar char="­"/>
        <a:defRPr sz="1200" kern="1200">
          <a:solidFill>
            <a:schemeClr val="accent6"/>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26">
          <p15:clr>
            <a:srgbClr val="F26B43"/>
          </p15:clr>
        </p15:guide>
        <p15:guide id="4" pos="7129">
          <p15:clr>
            <a:srgbClr val="F26B43"/>
          </p15:clr>
        </p15:guide>
        <p15:guide id="6" orient="horz" pos="3720">
          <p15:clr>
            <a:srgbClr val="F26B43"/>
          </p15:clr>
        </p15:guide>
        <p15:guide id="8" orient="horz" pos="111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8577994" y="146927"/>
            <a:ext cx="448387" cy="448387"/>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14582368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17" imgW="384" imgH="385" progId="TCLayout.ActiveDocument.1">
                  <p:embed/>
                </p:oleObj>
              </mc:Choice>
              <mc:Fallback>
                <p:oleObj name="think-cell Folie" r:id="rId17"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8"/>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725"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494110" y="330994"/>
            <a:ext cx="7209738" cy="586979"/>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494110" y="1207294"/>
            <a:ext cx="8128396" cy="3632597"/>
          </a:xfrm>
          <a:prstGeom prst="rect">
            <a:avLst/>
          </a:prstGeom>
        </p:spPr>
        <p:txBody>
          <a:bodyPr vert="horz" lIns="0" tIns="45720" rIns="0" bIns="45720" rtlCol="0">
            <a:normAutofit/>
          </a:bodyPr>
          <a:lstStyle/>
          <a:p>
            <a:pPr marL="0" marR="0" lvl="0" indent="0" algn="l" defTabSz="685800" rtl="0" eaLnBrk="1" fontAlgn="auto" latinLnBrk="0" hangingPunct="1">
              <a:lnSpc>
                <a:spcPct val="120000"/>
              </a:lnSpc>
              <a:spcBef>
                <a:spcPts val="45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3040092" y="4921200"/>
            <a:ext cx="5420489" cy="108000"/>
          </a:xfrm>
          <a:prstGeom prst="rect">
            <a:avLst/>
          </a:prstGeom>
        </p:spPr>
        <p:txBody>
          <a:bodyPr vert="horz" wrap="none" lIns="0" tIns="0" rIns="0" bIns="0" rtlCol="0" anchor="b" anchorCtr="0"/>
          <a:lstStyle>
            <a:lvl1pPr algn="r">
              <a:defRPr lang="de-DE" sz="450" kern="600" cap="all" spc="68" baseline="0" smtClean="0">
                <a:solidFill>
                  <a:schemeClr val="tx1">
                    <a:tint val="75000"/>
                  </a:schemeClr>
                </a:solidFill>
                <a:latin typeface="+mn-lt"/>
                <a:ea typeface="+mn-ea"/>
                <a:cs typeface="+mn-cs"/>
              </a:defRPr>
            </a:lvl1pPr>
          </a:lstStyle>
          <a:p>
            <a:endParaRPr lang="de-DE" dirty="0"/>
          </a:p>
        </p:txBody>
      </p:sp>
      <p:sp>
        <p:nvSpPr>
          <p:cNvPr id="9" name="Fußzeilenplatzhalter 8"/>
          <p:cNvSpPr>
            <a:spLocks noGrp="1"/>
          </p:cNvSpPr>
          <p:nvPr>
            <p:ph type="ftr" sz="quarter" idx="3"/>
          </p:nvPr>
        </p:nvSpPr>
        <p:spPr>
          <a:xfrm>
            <a:off x="494110" y="4921200"/>
            <a:ext cx="4586288" cy="108000"/>
          </a:xfrm>
          <a:prstGeom prst="rect">
            <a:avLst/>
          </a:prstGeom>
        </p:spPr>
        <p:txBody>
          <a:bodyPr vert="horz" wrap="none" lIns="0" tIns="0" rIns="0" bIns="0" rtlCol="0" anchor="b" anchorCtr="0"/>
          <a:lstStyle>
            <a:lvl1pPr algn="l">
              <a:defRPr lang="de-DE" sz="450" kern="600" cap="all" spc="68" baseline="0">
                <a:solidFill>
                  <a:schemeClr val="tx1">
                    <a:tint val="75000"/>
                  </a:schemeClr>
                </a:solidFill>
                <a:latin typeface="+mn-lt"/>
                <a:ea typeface="+mn-ea"/>
                <a:cs typeface="+mn-cs"/>
              </a:defRPr>
            </a:lvl1pPr>
          </a:lstStyle>
          <a:p>
            <a:r>
              <a:rPr lang="en-US"/>
              <a:t>Alexander Feichtmayer | Joint E2/E2M Program Seminar 2024 | Kloster Seeon | 19.03.2024</a:t>
            </a:r>
            <a:endParaRPr lang="de-DE" dirty="0"/>
          </a:p>
        </p:txBody>
      </p:sp>
      <p:sp>
        <p:nvSpPr>
          <p:cNvPr id="10" name="Foliennummernplatzhalter 9"/>
          <p:cNvSpPr>
            <a:spLocks noGrp="1"/>
          </p:cNvSpPr>
          <p:nvPr>
            <p:ph type="sldNum" sz="quarter" idx="4"/>
          </p:nvPr>
        </p:nvSpPr>
        <p:spPr>
          <a:xfrm>
            <a:off x="8460581" y="4921201"/>
            <a:ext cx="163012" cy="108000"/>
          </a:xfrm>
          <a:prstGeom prst="rect">
            <a:avLst/>
          </a:prstGeom>
        </p:spPr>
        <p:txBody>
          <a:bodyPr vert="horz" wrap="none" lIns="0" tIns="0" rIns="0" bIns="0" rtlCol="0" anchor="b" anchorCtr="0"/>
          <a:lstStyle>
            <a:lvl1pPr algn="r">
              <a:defRPr lang="de-DE" sz="450" kern="600" cap="all" spc="68"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77033212"/>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Lst>
  <p:hf hdr="0" dt="0"/>
  <p:txStyles>
    <p:titleStyle>
      <a:lvl1pPr algn="l" defTabSz="685800" rtl="0" eaLnBrk="1" latinLnBrk="0" hangingPunct="1">
        <a:lnSpc>
          <a:spcPts val="2100"/>
        </a:lnSpc>
        <a:spcBef>
          <a:spcPct val="0"/>
        </a:spcBef>
        <a:spcAft>
          <a:spcPts val="1350"/>
        </a:spcAft>
        <a:buNone/>
        <a:defRPr sz="1875" b="1" kern="600" cap="none" spc="0" baseline="0">
          <a:solidFill>
            <a:srgbClr val="005555"/>
          </a:solidFill>
          <a:latin typeface="+mj-lt"/>
          <a:ea typeface="+mj-ea"/>
          <a:cs typeface="+mj-cs"/>
        </a:defRPr>
      </a:lvl1pPr>
    </p:titleStyle>
    <p:bodyStyle>
      <a:lvl1pPr marL="0" marR="0" indent="0" algn="l" defTabSz="685800" rtl="0" eaLnBrk="1" fontAlgn="auto" latinLnBrk="0" hangingPunct="1">
        <a:lnSpc>
          <a:spcPct val="120000"/>
        </a:lnSpc>
        <a:spcBef>
          <a:spcPts val="450"/>
        </a:spcBef>
        <a:spcAft>
          <a:spcPts val="0"/>
        </a:spcAft>
        <a:buClrTx/>
        <a:buSzTx/>
        <a:buFont typeface="Arial" panose="020B0604020202020204" pitchFamily="34" charset="0"/>
        <a:buNone/>
        <a:tabLst/>
        <a:defRPr lang="de-DE" sz="1350" b="0" i="0" kern="600" spc="30" baseline="0" dirty="0" smtClean="0">
          <a:solidFill>
            <a:schemeClr val="tx1"/>
          </a:solidFill>
          <a:latin typeface="+mn-lt"/>
          <a:ea typeface="+mn-ea"/>
          <a:cs typeface="+mn-cs"/>
        </a:defRPr>
      </a:lvl1pPr>
      <a:lvl2pPr marL="0" indent="0" algn="l" defTabSz="685800" rtl="0" eaLnBrk="1" latinLnBrk="0" hangingPunct="1">
        <a:lnSpc>
          <a:spcPct val="120000"/>
        </a:lnSpc>
        <a:spcBef>
          <a:spcPts val="450"/>
        </a:spcBef>
        <a:spcAft>
          <a:spcPts val="0"/>
        </a:spcAft>
        <a:buFont typeface="Arial" panose="020B0604020202020204" pitchFamily="34" charset="0"/>
        <a:buNone/>
        <a:defRPr sz="1350" b="1" kern="600" spc="30" baseline="0">
          <a:solidFill>
            <a:schemeClr val="tx2"/>
          </a:solidFill>
          <a:latin typeface="+mn-lt"/>
          <a:ea typeface="+mn-ea"/>
          <a:cs typeface="+mn-cs"/>
        </a:defRPr>
      </a:lvl2pPr>
      <a:lvl3pPr marL="134541" indent="-134541" algn="l" defTabSz="685800" rtl="0" eaLnBrk="1" latinLnBrk="0" hangingPunct="1">
        <a:lnSpc>
          <a:spcPct val="120000"/>
        </a:lnSpc>
        <a:spcBef>
          <a:spcPts val="450"/>
        </a:spcBef>
        <a:buFont typeface="Arial" panose="020B0604020202020204" pitchFamily="34" charset="0"/>
        <a:buChar char="•"/>
        <a:defRPr sz="1350" b="1" kern="400" spc="30" baseline="0">
          <a:solidFill>
            <a:schemeClr val="accent3"/>
          </a:solidFill>
          <a:latin typeface="+mn-lt"/>
          <a:ea typeface="+mn-ea"/>
          <a:cs typeface="+mn-cs"/>
        </a:defRPr>
      </a:lvl3pPr>
      <a:lvl4pPr marL="134541" indent="-134541" algn="l" defTabSz="685800" rtl="0" eaLnBrk="1" latinLnBrk="0" hangingPunct="1">
        <a:lnSpc>
          <a:spcPct val="120000"/>
        </a:lnSpc>
        <a:spcBef>
          <a:spcPts val="450"/>
        </a:spcBef>
        <a:buFont typeface="Arial" panose="020B0604020202020204" pitchFamily="34" charset="0"/>
        <a:buChar char="•"/>
        <a:defRPr sz="1350" kern="600" spc="30" baseline="0">
          <a:solidFill>
            <a:schemeClr val="tx1"/>
          </a:solidFill>
          <a:latin typeface="+mn-lt"/>
          <a:ea typeface="+mn-ea"/>
          <a:cs typeface="+mn-cs"/>
        </a:defRPr>
      </a:lvl4pPr>
      <a:lvl5pPr marL="267891" indent="-134541" algn="l" defTabSz="685800" rtl="0" eaLnBrk="1" latinLnBrk="0" hangingPunct="1">
        <a:lnSpc>
          <a:spcPct val="120000"/>
        </a:lnSpc>
        <a:spcBef>
          <a:spcPts val="450"/>
        </a:spcBef>
        <a:buFont typeface="Arial" panose="020B0604020202020204" pitchFamily="34" charset="0"/>
        <a:buChar char="•"/>
        <a:defRPr lang="de-DE" sz="1350" b="0" i="0" kern="600" spc="30" baseline="0" dirty="0" smtClean="0">
          <a:solidFill>
            <a:schemeClr val="tx1"/>
          </a:solidFill>
          <a:latin typeface="+mn-lt"/>
          <a:ea typeface="+mn-ea"/>
          <a:cs typeface="+mn-cs"/>
        </a:defRPr>
      </a:lvl5pPr>
      <a:lvl6pPr marL="484313" indent="-214313" algn="l" defTabSz="685800" rtl="0" eaLnBrk="1" latinLnBrk="0" hangingPunct="1">
        <a:lnSpc>
          <a:spcPct val="100000"/>
        </a:lnSpc>
        <a:spcBef>
          <a:spcPts val="225"/>
        </a:spcBef>
        <a:spcAft>
          <a:spcPts val="0"/>
        </a:spcAft>
        <a:buClr>
          <a:schemeClr val="tx1"/>
        </a:buClr>
        <a:buSzPct val="110000"/>
        <a:buFont typeface="Symbol" panose="05050102010706020507" pitchFamily="18" charset="2"/>
        <a:buChar char=""/>
        <a:defRPr sz="1350" b="0" i="0" kern="600" spc="30" baseline="0">
          <a:solidFill>
            <a:schemeClr val="tx1"/>
          </a:solidFill>
          <a:latin typeface="+mn-lt"/>
          <a:ea typeface="+mn-ea"/>
          <a:cs typeface="+mn-cs"/>
        </a:defRPr>
      </a:lvl6pPr>
      <a:lvl7pPr marL="0" indent="161925" algn="l" defTabSz="685800" rtl="0" eaLnBrk="1" latinLnBrk="0" hangingPunct="1">
        <a:lnSpc>
          <a:spcPct val="100000"/>
        </a:lnSpc>
        <a:spcBef>
          <a:spcPts val="450"/>
        </a:spcBef>
        <a:spcAft>
          <a:spcPts val="0"/>
        </a:spcAft>
        <a:buClr>
          <a:schemeClr val="tx2"/>
        </a:buClr>
        <a:buFont typeface="Wingdings 3" panose="05040102010807070707" pitchFamily="18" charset="2"/>
        <a:buChar char=""/>
        <a:defRPr sz="1125" b="0" i="1" kern="600" spc="30" baseline="0">
          <a:solidFill>
            <a:schemeClr val="tx2"/>
          </a:solidFill>
          <a:latin typeface="+mn-lt"/>
          <a:ea typeface="+mn-ea"/>
          <a:cs typeface="+mn-cs"/>
        </a:defRPr>
      </a:lvl7pPr>
      <a:lvl8pPr marL="0" indent="0" algn="l" defTabSz="685800" rtl="0" eaLnBrk="1" latinLnBrk="0" hangingPunct="1">
        <a:lnSpc>
          <a:spcPct val="100000"/>
        </a:lnSpc>
        <a:spcBef>
          <a:spcPts val="394"/>
        </a:spcBef>
        <a:spcAft>
          <a:spcPts val="0"/>
        </a:spcAft>
        <a:buSzPct val="110000"/>
        <a:buFont typeface=".SF NS Symbols Regular"/>
        <a:buNone/>
        <a:defRPr sz="750" b="0" i="1" kern="600" spc="90" baseline="0">
          <a:solidFill>
            <a:schemeClr val="tx1">
              <a:lumMod val="50000"/>
              <a:lumOff val="50000"/>
            </a:schemeClr>
          </a:solidFill>
          <a:latin typeface="+mn-lt"/>
          <a:ea typeface="+mn-ea"/>
          <a:cs typeface="+mn-cs"/>
        </a:defRPr>
      </a:lvl8pPr>
      <a:lvl9pPr marL="0" indent="0" algn="l" defTabSz="685800" rtl="0" eaLnBrk="1" latinLnBrk="0" hangingPunct="1">
        <a:lnSpc>
          <a:spcPts val="825"/>
        </a:lnSpc>
        <a:spcBef>
          <a:spcPts val="394"/>
        </a:spcBef>
        <a:buFont typeface="Arial" panose="020B0604020202020204" pitchFamily="34" charset="0"/>
        <a:buNone/>
        <a:defRPr sz="600" b="0" i="1" kern="600" spc="90" baseline="0">
          <a:solidFill>
            <a:schemeClr val="tx1">
              <a:lumMod val="50000"/>
              <a:lumOff val="50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78606" y="1172358"/>
            <a:ext cx="8586788" cy="3160691"/>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1937683" y="4953115"/>
            <a:ext cx="2190170" cy="357504"/>
          </a:xfrm>
          <a:prstGeom prst="rect">
            <a:avLst/>
          </a:prstGeom>
        </p:spPr>
        <p:txBody>
          <a:bodyPr vert="horz" lIns="0" tIns="0" rIns="0" bIns="0" rtlCol="0" anchor="t" anchorCtr="0">
            <a:noAutofit/>
          </a:bodyPr>
          <a:lstStyle>
            <a:lvl1pPr algn="l">
              <a:defRPr sz="900">
                <a:solidFill>
                  <a:schemeClr val="tx2"/>
                </a:solidFill>
              </a:defRPr>
            </a:lvl1pPr>
          </a:lstStyle>
          <a:p>
            <a:r>
              <a:rPr lang="en-US"/>
              <a:t>W-Div Engineering Meeting 14.11.2023</a:t>
            </a:r>
            <a:endParaRPr lang="de-DE" dirty="0"/>
          </a:p>
        </p:txBody>
      </p:sp>
      <p:sp>
        <p:nvSpPr>
          <p:cNvPr id="6" name="Slide Number Placeholder 5"/>
          <p:cNvSpPr>
            <a:spLocks noGrp="1"/>
          </p:cNvSpPr>
          <p:nvPr>
            <p:ph type="sldNum" sz="quarter" idx="4"/>
          </p:nvPr>
        </p:nvSpPr>
        <p:spPr>
          <a:xfrm>
            <a:off x="4302000" y="4953115"/>
            <a:ext cx="540000" cy="165832"/>
          </a:xfrm>
          <a:prstGeom prst="rect">
            <a:avLst/>
          </a:prstGeom>
        </p:spPr>
        <p:txBody>
          <a:bodyPr vert="horz" lIns="0" tIns="0" rIns="0" bIns="0" rtlCol="0" anchor="t" anchorCtr="0">
            <a:noAutofit/>
          </a:bodyPr>
          <a:lstStyle>
            <a:lvl1pPr algn="l">
              <a:defRPr sz="900">
                <a:solidFill>
                  <a:schemeClr val="tx2"/>
                </a:solidFill>
              </a:defRPr>
            </a:lvl1pPr>
          </a:lstStyle>
          <a:p>
            <a:r>
              <a:rPr lang="de-DE" dirty="0"/>
              <a:t>Slide </a:t>
            </a:r>
            <a:fld id="{A52F4D17-1AD6-42D9-B93A-EB002C62F438}" type="slidenum">
              <a:rPr lang="de-DE" smtClean="0"/>
              <a:pPr/>
              <a:t>‹Nr.›</a:t>
            </a:fld>
            <a:endParaRPr lang="de-DE" dirty="0"/>
          </a:p>
        </p:txBody>
      </p:sp>
      <p:sp>
        <p:nvSpPr>
          <p:cNvPr id="2" name="Title Placeholder 1"/>
          <p:cNvSpPr>
            <a:spLocks noGrp="1"/>
          </p:cNvSpPr>
          <p:nvPr>
            <p:ph type="title"/>
          </p:nvPr>
        </p:nvSpPr>
        <p:spPr>
          <a:xfrm>
            <a:off x="278606" y="243000"/>
            <a:ext cx="8586788" cy="843585"/>
          </a:xfrm>
          <a:prstGeom prst="rect">
            <a:avLst/>
          </a:prstGeom>
        </p:spPr>
        <p:txBody>
          <a:bodyPr vert="horz" lIns="0" tIns="0" rIns="0" bIns="0" rtlCol="0" anchor="t" anchorCtr="0">
            <a:noAutofit/>
          </a:bodyPr>
          <a:lstStyle/>
          <a:p>
            <a:r>
              <a:rPr lang="de-DE" dirty="0"/>
              <a:t>Mastertitelformat bearbeiten</a:t>
            </a:r>
            <a:endParaRPr lang="en-US" dirty="0"/>
          </a:p>
        </p:txBody>
      </p:sp>
      <p:pic>
        <p:nvPicPr>
          <p:cNvPr id="13" name="Grafik 12">
            <a:extLst>
              <a:ext uri="{FF2B5EF4-FFF2-40B4-BE49-F238E27FC236}">
                <a16:creationId xmlns:a16="http://schemas.microsoft.com/office/drawing/2014/main" id="{F2C4F5F8-9F24-424C-8284-2E94052236C1}"/>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7272300" y="4859668"/>
            <a:ext cx="841169" cy="245315"/>
          </a:xfrm>
          <a:prstGeom prst="rect">
            <a:avLst/>
          </a:prstGeom>
        </p:spPr>
      </p:pic>
      <p:pic>
        <p:nvPicPr>
          <p:cNvPr id="14" name="Grafik 13">
            <a:extLst>
              <a:ext uri="{FF2B5EF4-FFF2-40B4-BE49-F238E27FC236}">
                <a16:creationId xmlns:a16="http://schemas.microsoft.com/office/drawing/2014/main" id="{658AF006-3416-44FA-BBD1-BCE9F27A1964}"/>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89617" y="4953115"/>
            <a:ext cx="1728000" cy="87992"/>
          </a:xfrm>
          <a:prstGeom prst="rect">
            <a:avLst/>
          </a:prstGeom>
        </p:spPr>
      </p:pic>
      <p:pic>
        <p:nvPicPr>
          <p:cNvPr id="8" name="Grafik 7" descr="Ein Bild, das Text, Schrift, Grafiken, Logo enthält.&#10;&#10;Automatisch generierte Beschreibung">
            <a:extLst>
              <a:ext uri="{FF2B5EF4-FFF2-40B4-BE49-F238E27FC236}">
                <a16:creationId xmlns:a16="http://schemas.microsoft.com/office/drawing/2014/main" id="{47710772-4D4E-37A8-E873-F1B5E7ADAC07}"/>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8113469" y="4819656"/>
            <a:ext cx="1038680" cy="316618"/>
          </a:xfrm>
          <a:prstGeom prst="rect">
            <a:avLst/>
          </a:prstGeom>
        </p:spPr>
      </p:pic>
    </p:spTree>
    <p:extLst>
      <p:ext uri="{BB962C8B-B14F-4D97-AF65-F5344CB8AC3E}">
        <p14:creationId xmlns:p14="http://schemas.microsoft.com/office/powerpoint/2010/main" val="46691687"/>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Lst>
  <p:hf hdr="0"/>
  <p:txStyles>
    <p:titleStyle>
      <a:lvl1pPr algn="l" defTabSz="685800" rtl="0" eaLnBrk="1" latinLnBrk="0" hangingPunct="1">
        <a:lnSpc>
          <a:spcPct val="114000"/>
        </a:lnSpc>
        <a:spcBef>
          <a:spcPct val="0"/>
        </a:spcBef>
        <a:buNone/>
        <a:defRPr sz="2400" b="1" kern="1200" cap="none" spc="75" baseline="0">
          <a:solidFill>
            <a:schemeClr val="accent1"/>
          </a:solidFill>
          <a:latin typeface="+mj-lt"/>
          <a:ea typeface="+mj-ea"/>
          <a:cs typeface="+mj-cs"/>
        </a:defRPr>
      </a:lvl1pPr>
    </p:titleStyle>
    <p:bodyStyle>
      <a:lvl1pPr marL="171450" indent="-171450" algn="l" defTabSz="685800" rtl="0" eaLnBrk="1" latinLnBrk="0" hangingPunct="1">
        <a:lnSpc>
          <a:spcPct val="114000"/>
        </a:lnSpc>
        <a:spcBef>
          <a:spcPts val="0"/>
        </a:spcBef>
        <a:spcAft>
          <a:spcPts val="450"/>
        </a:spcAft>
        <a:buFont typeface="Calibri" panose="020F0502020204030204" pitchFamily="34" charset="0"/>
        <a:buChar char="•"/>
        <a:defRPr sz="1650" kern="1200">
          <a:solidFill>
            <a:schemeClr val="tx1"/>
          </a:solidFill>
          <a:latin typeface="+mn-lt"/>
          <a:ea typeface="+mn-ea"/>
          <a:cs typeface="+mn-cs"/>
        </a:defRPr>
      </a:lvl1pPr>
      <a:lvl2pPr marL="338138" indent="-176213" algn="l" defTabSz="685800" rtl="0" eaLnBrk="1" latinLnBrk="0" hangingPunct="1">
        <a:lnSpc>
          <a:spcPct val="114000"/>
        </a:lnSpc>
        <a:spcBef>
          <a:spcPts val="0"/>
        </a:spcBef>
        <a:spcAft>
          <a:spcPts val="450"/>
        </a:spcAft>
        <a:buFont typeface="Calibri" panose="020F0502020204030204" pitchFamily="34" charset="0"/>
        <a:buChar char="•"/>
        <a:defRPr sz="1650" kern="1200">
          <a:solidFill>
            <a:schemeClr val="tx1"/>
          </a:solidFill>
          <a:latin typeface="+mn-lt"/>
          <a:ea typeface="+mn-ea"/>
          <a:cs typeface="+mn-cs"/>
        </a:defRPr>
      </a:lvl2pPr>
      <a:lvl3pPr marL="500063" indent="-161925" algn="l" defTabSz="685800" rtl="0" eaLnBrk="1" latinLnBrk="0" hangingPunct="1">
        <a:lnSpc>
          <a:spcPct val="114000"/>
        </a:lnSpc>
        <a:spcBef>
          <a:spcPts val="0"/>
        </a:spcBef>
        <a:spcAft>
          <a:spcPts val="450"/>
        </a:spcAft>
        <a:buFont typeface="Calibri" panose="020F0502020204030204" pitchFamily="34" charset="0"/>
        <a:buChar char="•"/>
        <a:defRPr sz="1650" kern="1200">
          <a:solidFill>
            <a:schemeClr val="tx1"/>
          </a:solidFill>
          <a:latin typeface="+mn-lt"/>
          <a:ea typeface="+mn-ea"/>
          <a:cs typeface="+mn-cs"/>
        </a:defRPr>
      </a:lvl3pPr>
      <a:lvl4pPr marL="671513" indent="-161925" algn="l" defTabSz="685800" rtl="0" eaLnBrk="1" latinLnBrk="0" hangingPunct="1">
        <a:lnSpc>
          <a:spcPct val="114000"/>
        </a:lnSpc>
        <a:spcBef>
          <a:spcPts val="0"/>
        </a:spcBef>
        <a:spcAft>
          <a:spcPts val="450"/>
        </a:spcAft>
        <a:buFont typeface="Calibri" panose="020F0502020204030204" pitchFamily="34" charset="0"/>
        <a:buChar char="•"/>
        <a:defRPr sz="1650" kern="1200">
          <a:solidFill>
            <a:schemeClr val="tx1"/>
          </a:solidFill>
          <a:latin typeface="+mn-lt"/>
          <a:ea typeface="+mn-ea"/>
          <a:cs typeface="+mn-cs"/>
        </a:defRPr>
      </a:lvl4pPr>
      <a:lvl5pPr marL="838200" indent="-161925" algn="l" defTabSz="685800" rtl="0" eaLnBrk="1" latinLnBrk="0" hangingPunct="1">
        <a:lnSpc>
          <a:spcPct val="114000"/>
        </a:lnSpc>
        <a:spcBef>
          <a:spcPts val="0"/>
        </a:spcBef>
        <a:spcAft>
          <a:spcPts val="450"/>
        </a:spcAft>
        <a:buFont typeface="Calibri" panose="020F0502020204030204" pitchFamily="34" charset="0"/>
        <a:buChar char="•"/>
        <a:defRPr sz="16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26">
          <p15:clr>
            <a:srgbClr val="F26B43"/>
          </p15:clr>
        </p15:guide>
        <p15:guide id="2" pos="234">
          <p15:clr>
            <a:srgbClr val="F26B43"/>
          </p15:clr>
        </p15:guide>
        <p15:guide id="3" pos="7446">
          <p15:clr>
            <a:srgbClr val="F26B43"/>
          </p15:clr>
        </p15:guide>
        <p15:guide id="4" orient="horz" pos="278">
          <p15:clr>
            <a:srgbClr val="F26B43"/>
          </p15:clr>
        </p15:guide>
        <p15:guide id="6" pos="3659">
          <p15:clr>
            <a:srgbClr val="F26B43"/>
          </p15:clr>
        </p15:guide>
        <p15:guide id="7" pos="4021">
          <p15:clr>
            <a:srgbClr val="F26B43"/>
          </p15:clr>
        </p15:guide>
        <p15:guide id="8" orient="horz" pos="36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59.xml"/><Relationship Id="rId4" Type="http://schemas.openxmlformats.org/officeDocument/2006/relationships/image" Target="../media/image39.jpg"/></Relationships>
</file>

<file path=ppt/slides/_rels/slide1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68.xml"/><Relationship Id="rId4" Type="http://schemas.openxmlformats.org/officeDocument/2006/relationships/image" Target="../media/image42.jpeg"/></Relationships>
</file>

<file path=ppt/slides/_rels/slide1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78.xml"/></Relationships>
</file>

<file path=ppt/slides/_rels/slide17.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78.xml"/></Relationships>
</file>

<file path=ppt/slides/_rels/slide2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3" Type="http://schemas.openxmlformats.org/officeDocument/2006/relationships/image" Target="../media/image50.tif"/><Relationship Id="rId2" Type="http://schemas.openxmlformats.org/officeDocument/2006/relationships/image" Target="../media/image49.jpg"/><Relationship Id="rId1" Type="http://schemas.openxmlformats.org/officeDocument/2006/relationships/slideLayout" Target="../slideLayouts/slideLayout7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6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8.xml.rels><?xml version="1.0" encoding="UTF-8" standalone="yes"?>
<Relationships xmlns="http://schemas.openxmlformats.org/package/2006/relationships"><Relationship Id="rId3" Type="http://schemas.openxmlformats.org/officeDocument/2006/relationships/image" Target="../media/image56.tif"/><Relationship Id="rId7" Type="http://schemas.openxmlformats.org/officeDocument/2006/relationships/image" Target="../media/image55.png"/><Relationship Id="rId2" Type="http://schemas.openxmlformats.org/officeDocument/2006/relationships/notesSlide" Target="../notesSlides/notesSlide13.xml"/><Relationship Id="rId1" Type="http://schemas.openxmlformats.org/officeDocument/2006/relationships/slideLayout" Target="../slideLayouts/slideLayout61.xml"/><Relationship Id="rId6" Type="http://schemas.openxmlformats.org/officeDocument/2006/relationships/image" Target="../media/image59.tif"/><Relationship Id="rId5" Type="http://schemas.openxmlformats.org/officeDocument/2006/relationships/image" Target="../media/image58.jpg"/><Relationship Id="rId4" Type="http://schemas.openxmlformats.org/officeDocument/2006/relationships/image" Target="../media/image57.ti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13.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jpeg"/><Relationship Id="rId9" Type="http://schemas.openxmlformats.org/officeDocument/2006/relationships/image" Target="../media/image67.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46.xml"/><Relationship Id="rId5" Type="http://schemas.openxmlformats.org/officeDocument/2006/relationships/image" Target="../media/image71.png"/><Relationship Id="rId4" Type="http://schemas.openxmlformats.org/officeDocument/2006/relationships/image" Target="../media/image70.jpe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6.xml"/></Relationships>
</file>

<file path=ppt/slides/_rels/slide3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38.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reporting 2023</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a:solidFill>
                  <a:srgbClr val="E3E3E3"/>
                </a:solidFill>
              </a:rPr>
              <a:t>SPL A: Jan W. Coenen</a:t>
            </a:r>
          </a:p>
          <a:p>
            <a:r>
              <a:rPr lang="en-US" dirty="0">
                <a:solidFill>
                  <a:srgbClr val="E3E3E3"/>
                </a:solidFill>
              </a:rPr>
              <a:t>Talk 10.04.2024</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6974029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5540" name="Text Box 4"/>
          <p:cNvSpPr txBox="1">
            <a:spLocks noChangeArrowheads="1"/>
          </p:cNvSpPr>
          <p:nvPr/>
        </p:nvSpPr>
        <p:spPr bwMode="auto">
          <a:xfrm>
            <a:off x="0" y="-7951"/>
            <a:ext cx="8352000" cy="461665"/>
          </a:xfrm>
          <a:prstGeom prst="rect">
            <a:avLst/>
          </a:prstGeom>
          <a:noFill/>
          <a:ln w="19050">
            <a:solidFill>
              <a:schemeClr val="bg1">
                <a:lumMod val="65000"/>
              </a:schemeClr>
            </a:solidFill>
            <a:miter lim="800000"/>
            <a:headEnd/>
            <a:tailEnd/>
          </a:ln>
          <a:effectLst>
            <a:outerShdw blurRad="50800" dist="38100" dir="5400000" algn="t" rotWithShape="0">
              <a:schemeClr val="bg1">
                <a:lumMod val="50000"/>
                <a:alpha val="40000"/>
              </a:schemeClr>
            </a:outerShdw>
          </a:effectLst>
        </p:spPr>
        <p:txBody>
          <a:bodyPr wrap="square">
            <a:spAutoFit/>
          </a:bodyPr>
          <a:lstStyle/>
          <a:p>
            <a:pPr marL="0" marR="0" lvl="0" indent="0" algn="ctr" defTabSz="914400" rtl="0" eaLnBrk="1" fontAlgn="auto" latinLnBrk="0" hangingPunct="1">
              <a:lnSpc>
                <a:spcPct val="100000"/>
              </a:lnSpc>
              <a:spcBef>
                <a:spcPct val="50000"/>
              </a:spcBef>
              <a:spcAft>
                <a:spcPts val="0"/>
              </a:spcAft>
              <a:buClrTx/>
              <a:buSzTx/>
              <a:buFontTx/>
              <a:buNone/>
              <a:tabLst/>
              <a:defRPr/>
            </a:pPr>
            <a:r>
              <a:rPr kumimoji="0" lang="en-US" sz="2400" b="1" i="1" u="none" strike="noStrike" kern="1200" cap="none" spc="0" normalizeH="0" baseline="0" noProof="0" dirty="0">
                <a:ln>
                  <a:noFill/>
                </a:ln>
                <a:solidFill>
                  <a:srgbClr val="002060"/>
                </a:solidFill>
                <a:effectLst>
                  <a:outerShdw blurRad="38100" dist="38100" dir="2700000" algn="tl">
                    <a:srgbClr val="000000"/>
                  </a:outerShdw>
                </a:effectLst>
                <a:uLnTx/>
                <a:uFillTx/>
                <a:latin typeface="Bookman Old Style" pitchFamily="18" charset="0"/>
              </a:rPr>
              <a:t>D003: EXPLOITATION OF OLMAT AS HHF</a:t>
            </a:r>
            <a:r>
              <a:rPr kumimoji="0" lang="es-ES" sz="2400" b="1" i="1" u="none" strike="noStrike" kern="1200" cap="none" spc="0" normalizeH="0" baseline="0" noProof="0" dirty="0">
                <a:ln>
                  <a:noFill/>
                </a:ln>
                <a:solidFill>
                  <a:srgbClr val="002060"/>
                </a:solidFill>
                <a:effectLst>
                  <a:outerShdw blurRad="38100" dist="38100" dir="2700000" algn="tl">
                    <a:srgbClr val="000000"/>
                  </a:outerShdw>
                </a:effectLst>
                <a:uLnTx/>
                <a:uFillTx/>
                <a:latin typeface="Bookman Old Style" pitchFamily="18" charset="0"/>
              </a:rPr>
              <a:t>: </a:t>
            </a:r>
            <a:r>
              <a:rPr kumimoji="0" lang="es-ES" sz="2400" b="0" i="1" u="none" strike="noStrike" kern="1200" cap="none" spc="0" normalizeH="0" baseline="0" noProof="0" dirty="0">
                <a:ln>
                  <a:noFill/>
                </a:ln>
                <a:solidFill>
                  <a:srgbClr val="002060"/>
                </a:solidFill>
                <a:effectLst>
                  <a:outerShdw blurRad="38100" dist="38100" dir="2700000" algn="tl">
                    <a:srgbClr val="000000"/>
                  </a:outerShdw>
                </a:effectLst>
                <a:uLnTx/>
                <a:uFillTx/>
                <a:latin typeface="Bookman Old Style" pitchFamily="18" charset="0"/>
              </a:rPr>
              <a:t>STATUS</a:t>
            </a:r>
          </a:p>
        </p:txBody>
      </p:sp>
      <p:sp>
        <p:nvSpPr>
          <p:cNvPr id="19" name="4 CuadroTexto"/>
          <p:cNvSpPr txBox="1"/>
          <p:nvPr/>
        </p:nvSpPr>
        <p:spPr>
          <a:xfrm>
            <a:off x="297000" y="515269"/>
            <a:ext cx="8847000" cy="39703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0000"/>
                </a:solidFill>
                <a:effectLst/>
                <a:uLnTx/>
                <a:uFillTx/>
                <a:latin typeface="Arial"/>
              </a:rPr>
              <a:t>DISRUPTION SIMULATION AT EDGES WITH LASER</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Experiments performed showed ablation at power where </a:t>
            </a:r>
            <a:b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b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it should not (like 600 MW/m</a:t>
            </a:r>
            <a:r>
              <a:rPr kumimoji="0" lang="en-US" sz="1800" b="1" i="0" u="none" strike="noStrike" kern="1200" cap="none" spc="0" normalizeH="0" baseline="30000" noProof="0" dirty="0">
                <a:ln>
                  <a:noFill/>
                </a:ln>
                <a:solidFill>
                  <a:srgbClr val="002060"/>
                </a:solidFill>
                <a:effectLst/>
                <a:uLnTx/>
                <a:uFillTx/>
                <a:latin typeface="Arial" pitchFamily="34" charset="0"/>
                <a:cs typeface="Arial" pitchFamily="34" charset="0"/>
              </a:rPr>
              <a:t>2</a:t>
            </a: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 Still being studied</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Use a </a:t>
            </a:r>
            <a:r>
              <a:rPr kumimoji="0" lang="en-US" sz="1800" b="1" i="0" u="sng" strike="noStrike" kern="1200" cap="none" spc="0" normalizeH="0" baseline="0" noProof="0" dirty="0">
                <a:ln>
                  <a:noFill/>
                </a:ln>
                <a:solidFill>
                  <a:srgbClr val="002060"/>
                </a:solidFill>
                <a:effectLst/>
                <a:uLnTx/>
                <a:uFillTx/>
                <a:latin typeface="Arial" pitchFamily="34" charset="0"/>
                <a:cs typeface="Arial" pitchFamily="34" charset="0"/>
              </a:rPr>
              <a:t>flat top lens</a:t>
            </a: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 to try to solve i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Experiments scheduled at the end of the year. </a:t>
            </a:r>
          </a:p>
          <a:p>
            <a:pPr marL="0" marR="0" lvl="0" indent="0" algn="ctr" defTabSz="914400" rtl="0" eaLnBrk="1" fontAlgn="auto" latinLnBrk="0" hangingPunct="1">
              <a:lnSpc>
                <a:spcPct val="100000"/>
              </a:lnSpc>
              <a:spcBef>
                <a:spcPts val="1800"/>
              </a:spcBef>
              <a:spcAft>
                <a:spcPts val="0"/>
              </a:spcAft>
              <a:buClrTx/>
              <a:buSzTx/>
              <a:buFontTx/>
              <a:buNone/>
              <a:tabLst/>
              <a:defRPr/>
            </a:pPr>
            <a:r>
              <a:rPr kumimoji="0" lang="en-US" sz="2000" b="1" i="1" u="none" strike="noStrike" kern="1200" cap="none" spc="0" normalizeH="0" baseline="0" noProof="0" dirty="0">
                <a:ln>
                  <a:noFill/>
                </a:ln>
                <a:solidFill>
                  <a:srgbClr val="FF0000"/>
                </a:solidFill>
                <a:effectLst/>
                <a:uLnTx/>
                <a:uFillTx/>
                <a:latin typeface="Arial"/>
              </a:rPr>
              <a:t>FATIGUE CRACKING</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sng" strike="noStrike" kern="1200" cap="none" spc="0" normalizeH="0" baseline="0" noProof="0" dirty="0">
                <a:ln>
                  <a:noFill/>
                </a:ln>
                <a:solidFill>
                  <a:srgbClr val="002060"/>
                </a:solidFill>
                <a:effectLst/>
                <a:uLnTx/>
                <a:uFillTx/>
                <a:latin typeface="Arial"/>
              </a:rPr>
              <a:t>Installing the water-cooled sample holder</a:t>
            </a:r>
            <a:r>
              <a:rPr kumimoji="0" lang="en-US" sz="1800" b="1" i="0" u="none" strike="noStrike" kern="1200" cap="none" spc="0" normalizeH="0" baseline="0" noProof="0" dirty="0">
                <a:ln>
                  <a:noFill/>
                </a:ln>
                <a:solidFill>
                  <a:srgbClr val="002060"/>
                </a:solidFill>
                <a:effectLst/>
                <a:uLnTx/>
                <a:uFillTx/>
                <a:latin typeface="Arial"/>
              </a:rPr>
              <a: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Experiments likely in June (3 OLMAT Operation days)</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Materials: </a:t>
            </a:r>
            <a:r>
              <a:rPr kumimoji="0" lang="en-US" sz="1800" b="1" i="0" u="none" strike="noStrike" kern="1200" cap="none" spc="0" normalizeH="0" baseline="0" noProof="0" dirty="0" err="1">
                <a:ln>
                  <a:noFill/>
                </a:ln>
                <a:solidFill>
                  <a:srgbClr val="002060"/>
                </a:solidFill>
                <a:effectLst/>
                <a:uLnTx/>
                <a:uFillTx/>
                <a:latin typeface="Arial" pitchFamily="34" charset="0"/>
                <a:cs typeface="Arial" pitchFamily="34" charset="0"/>
              </a:rPr>
              <a:t>PoMA-WfW</a:t>
            </a: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 ITER-like W, SMART-W.</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We will test the </a:t>
            </a:r>
            <a:r>
              <a:rPr kumimoji="0" lang="en-US" sz="1800" b="1" i="0" u="sng" strike="noStrike" kern="1200" cap="none" spc="0" normalizeH="0" baseline="0" noProof="0" dirty="0">
                <a:ln>
                  <a:noFill/>
                </a:ln>
                <a:solidFill>
                  <a:srgbClr val="002060"/>
                </a:solidFill>
                <a:effectLst/>
                <a:uLnTx/>
                <a:uFillTx/>
                <a:latin typeface="Arial" pitchFamily="34" charset="0"/>
                <a:cs typeface="Arial" pitchFamily="34" charset="0"/>
              </a:rPr>
              <a:t>laser for large number of cycles (10</a:t>
            </a:r>
            <a:r>
              <a:rPr kumimoji="0" lang="en-US" sz="1800" b="1" i="0" u="sng" strike="noStrike" kern="1200" cap="none" spc="0" normalizeH="0" baseline="30000" noProof="0" dirty="0">
                <a:ln>
                  <a:noFill/>
                </a:ln>
                <a:solidFill>
                  <a:srgbClr val="002060"/>
                </a:solidFill>
                <a:effectLst/>
                <a:uLnTx/>
                <a:uFillTx/>
                <a:latin typeface="Arial" pitchFamily="34" charset="0"/>
                <a:cs typeface="Arial" pitchFamily="34" charset="0"/>
              </a:rPr>
              <a:t>6-8</a:t>
            </a:r>
            <a:r>
              <a:rPr kumimoji="0" lang="en-US" sz="1800" b="1" i="0" u="sng" strike="noStrike" kern="1200" cap="none" spc="0" normalizeH="0" baseline="0" noProof="0" dirty="0">
                <a:ln>
                  <a:noFill/>
                </a:ln>
                <a:solidFill>
                  <a:srgbClr val="002060"/>
                </a:solidFill>
                <a:effectLst/>
                <a:uLnTx/>
                <a:uFillTx/>
                <a:latin typeface="Arial" pitchFamily="34" charset="0"/>
                <a:cs typeface="Arial" pitchFamily="34" charset="0"/>
              </a:rPr>
              <a:t>)</a:t>
            </a:r>
            <a:br>
              <a:rPr kumimoji="0" lang="en-US" sz="1800" b="1" i="0" u="sng" strike="noStrike" kern="1200" cap="none" spc="0" normalizeH="0" baseline="0" noProof="0" dirty="0">
                <a:ln>
                  <a:noFill/>
                </a:ln>
                <a:solidFill>
                  <a:srgbClr val="002060"/>
                </a:solidFill>
                <a:effectLst/>
                <a:uLnTx/>
                <a:uFillTx/>
                <a:latin typeface="Arial" pitchFamily="34" charset="0"/>
                <a:cs typeface="Arial" pitchFamily="34" charset="0"/>
              </a:rPr>
            </a:b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and low power (10-20 MW/m</a:t>
            </a:r>
            <a:r>
              <a:rPr kumimoji="0" lang="en-US" sz="1800" b="1" i="0" u="none" strike="noStrike" kern="1200" cap="none" spc="0" normalizeH="0" baseline="30000" noProof="0" dirty="0">
                <a:ln>
                  <a:noFill/>
                </a:ln>
                <a:solidFill>
                  <a:srgbClr val="002060"/>
                </a:solidFill>
                <a:effectLst/>
                <a:uLnTx/>
                <a:uFillTx/>
                <a:latin typeface="Arial" pitchFamily="34" charset="0"/>
                <a:cs typeface="Arial" pitchFamily="34" charset="0"/>
              </a:rPr>
              <a:t>2</a:t>
            </a:r>
            <a:r>
              <a:rPr kumimoji="0" lang="en-US" sz="1800" b="1" i="0" u="none" strike="noStrike" kern="1200" cap="none" spc="0" normalizeH="0" baseline="0" noProof="0" dirty="0">
                <a:ln>
                  <a:noFill/>
                </a:ln>
                <a:solidFill>
                  <a:srgbClr val="002060"/>
                </a:solidFill>
                <a:effectLst/>
                <a:uLnTx/>
                <a:uFillTx/>
                <a:latin typeface="Arial" pitchFamily="34" charset="0"/>
                <a:cs typeface="Arial" pitchFamily="34" charset="0"/>
              </a:rPr>
              <a:t>). </a:t>
            </a:r>
          </a:p>
        </p:txBody>
      </p:sp>
      <p:pic>
        <p:nvPicPr>
          <p:cNvPr id="22" name="Imagen 21"/>
          <p:cNvPicPr>
            <a:picLocks noChangeAspect="1"/>
          </p:cNvPicPr>
          <p:nvPr/>
        </p:nvPicPr>
        <p:blipFill rotWithShape="1">
          <a:blip r:embed="rId3" cstate="print">
            <a:extLst>
              <a:ext uri="{28A0092B-C50C-407E-A947-70E740481C1C}">
                <a14:useLocalDpi xmlns:a14="http://schemas.microsoft.com/office/drawing/2010/main"/>
              </a:ext>
            </a:extLst>
          </a:blip>
          <a:srcRect l="489" t="612" r="588"/>
          <a:stretch/>
        </p:blipFill>
        <p:spPr>
          <a:xfrm>
            <a:off x="6687000" y="2796750"/>
            <a:ext cx="2250000" cy="2253465"/>
          </a:xfrm>
          <a:prstGeom prst="rect">
            <a:avLst/>
          </a:prstGeom>
        </p:spPr>
      </p:pic>
      <p:pic>
        <p:nvPicPr>
          <p:cNvPr id="6" name="Imagen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58481" y="943717"/>
            <a:ext cx="1478519" cy="1440000"/>
          </a:xfrm>
          <a:prstGeom prst="rect">
            <a:avLst/>
          </a:prstGeom>
        </p:spPr>
      </p:pic>
    </p:spTree>
    <p:extLst>
      <p:ext uri="{BB962C8B-B14F-4D97-AF65-F5344CB8AC3E}">
        <p14:creationId xmlns:p14="http://schemas.microsoft.com/office/powerpoint/2010/main" val="4036441485"/>
      </p:ext>
    </p:extLst>
  </p:cSld>
  <p:clrMapOvr>
    <a:masterClrMapping/>
  </p:clrMapOvr>
  <p:timing>
    <p:tnLst>
      <p:par>
        <p:cTn id="1" dur="indefinite" restart="never" nodeType="tmRoot">
          <p:childTnLst>
            <p:par>
              <p:cTn id="2"/>
            </p:par>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2</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a:solidFill>
                  <a:srgbClr val="E3E3E3"/>
                </a:solidFill>
              </a:rPr>
              <a:t>Planning</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30687617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638112-A946-CADF-FDF1-F3DD416C08CC}"/>
              </a:ext>
            </a:extLst>
          </p:cNvPr>
          <p:cNvSpPr>
            <a:spLocks noGrp="1"/>
          </p:cNvSpPr>
          <p:nvPr>
            <p:ph type="title"/>
          </p:nvPr>
        </p:nvSpPr>
        <p:spPr/>
        <p:txBody>
          <a:bodyPr/>
          <a:lstStyle/>
          <a:p>
            <a:r>
              <a:rPr lang="en-GB" dirty="0"/>
              <a:t>SPA 2</a:t>
            </a:r>
          </a:p>
        </p:txBody>
      </p:sp>
      <p:sp>
        <p:nvSpPr>
          <p:cNvPr id="8" name="Textfeld 7">
            <a:extLst>
              <a:ext uri="{FF2B5EF4-FFF2-40B4-BE49-F238E27FC236}">
                <a16:creationId xmlns:a16="http://schemas.microsoft.com/office/drawing/2014/main" id="{C785D113-9C99-96CA-A696-F750319EC538}"/>
              </a:ext>
            </a:extLst>
          </p:cNvPr>
          <p:cNvSpPr txBox="1"/>
          <p:nvPr/>
        </p:nvSpPr>
        <p:spPr>
          <a:xfrm>
            <a:off x="251520" y="669446"/>
            <a:ext cx="4663980" cy="646331"/>
          </a:xfrm>
          <a:prstGeom prst="rect">
            <a:avLst/>
          </a:prstGeom>
          <a:noFill/>
        </p:spPr>
        <p:txBody>
          <a:bodyPr wrap="square">
            <a:spAutoFit/>
          </a:bodyPr>
          <a:lstStyle/>
          <a:p>
            <a:r>
              <a:rPr lang="en-US" sz="1800" dirty="0">
                <a:solidFill>
                  <a:srgbClr val="000000"/>
                </a:solidFill>
                <a:effectLst/>
                <a:latin typeface="Calibri" panose="020F0502020204030204" pitchFamily="34" charset="0"/>
                <a:ea typeface="SimSun" panose="02010600030101010101" pitchFamily="2" charset="-122"/>
              </a:rPr>
              <a:t>SP A.2 High Particle Fluence Exposures of Plasma-Facing Components for ITER</a:t>
            </a:r>
            <a:r>
              <a:rPr lang="de-DE" dirty="0">
                <a:effectLst/>
              </a:rPr>
              <a:t> </a:t>
            </a:r>
            <a:endParaRPr lang="en-GB" dirty="0"/>
          </a:p>
        </p:txBody>
      </p:sp>
      <p:pic>
        <p:nvPicPr>
          <p:cNvPr id="13" name="Grafik 12">
            <a:extLst>
              <a:ext uri="{FF2B5EF4-FFF2-40B4-BE49-F238E27FC236}">
                <a16:creationId xmlns:a16="http://schemas.microsoft.com/office/drawing/2014/main" id="{BBF6EF49-DECE-556F-00BD-19BB24D33298}"/>
              </a:ext>
            </a:extLst>
          </p:cNvPr>
          <p:cNvPicPr>
            <a:picLocks noChangeAspect="1"/>
          </p:cNvPicPr>
          <p:nvPr/>
        </p:nvPicPr>
        <p:blipFill>
          <a:blip r:embed="rId2"/>
          <a:stretch>
            <a:fillRect/>
          </a:stretch>
        </p:blipFill>
        <p:spPr>
          <a:xfrm>
            <a:off x="3548682" y="3545256"/>
            <a:ext cx="5269558" cy="836930"/>
          </a:xfrm>
          <a:prstGeom prst="rect">
            <a:avLst/>
          </a:prstGeom>
        </p:spPr>
      </p:pic>
      <p:graphicFrame>
        <p:nvGraphicFramePr>
          <p:cNvPr id="14" name="Tabelle 13">
            <a:extLst>
              <a:ext uri="{FF2B5EF4-FFF2-40B4-BE49-F238E27FC236}">
                <a16:creationId xmlns:a16="http://schemas.microsoft.com/office/drawing/2014/main" id="{1583DAAD-5A1A-BF48-767D-6DEC21C32459}"/>
              </a:ext>
            </a:extLst>
          </p:cNvPr>
          <p:cNvGraphicFramePr>
            <a:graphicFrameLocks noGrp="1"/>
          </p:cNvGraphicFramePr>
          <p:nvPr/>
        </p:nvGraphicFramePr>
        <p:xfrm>
          <a:off x="323528" y="1444130"/>
          <a:ext cx="5433695" cy="836930"/>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371398984"/>
                    </a:ext>
                  </a:extLst>
                </a:gridCol>
                <a:gridCol w="774700">
                  <a:extLst>
                    <a:ext uri="{9D8B030D-6E8A-4147-A177-3AD203B41FA5}">
                      <a16:colId xmlns:a16="http://schemas.microsoft.com/office/drawing/2014/main" val="567993270"/>
                    </a:ext>
                  </a:extLst>
                </a:gridCol>
                <a:gridCol w="711200">
                  <a:extLst>
                    <a:ext uri="{9D8B030D-6E8A-4147-A177-3AD203B41FA5}">
                      <a16:colId xmlns:a16="http://schemas.microsoft.com/office/drawing/2014/main" val="166248246"/>
                    </a:ext>
                  </a:extLst>
                </a:gridCol>
                <a:gridCol w="2755900">
                  <a:extLst>
                    <a:ext uri="{9D8B030D-6E8A-4147-A177-3AD203B41FA5}">
                      <a16:colId xmlns:a16="http://schemas.microsoft.com/office/drawing/2014/main" val="2580816785"/>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77126946"/>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 (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164831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 Bald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pPr>
                      <a:r>
                        <a:rPr lang="en-GB" sz="1100" spc="-15">
                          <a:effectLst/>
                        </a:rPr>
                        <a:t>D002 </a:t>
                      </a:r>
                      <a:r>
                        <a:rPr lang="en-GB" sz="1100">
                          <a:effectLst/>
                        </a:rPr>
                        <a:t>(S. Elget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965009976"/>
                  </a:ext>
                </a:extLst>
              </a:tr>
              <a:tr h="22034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503792433"/>
                  </a:ext>
                </a:extLst>
              </a:tr>
            </a:tbl>
          </a:graphicData>
        </a:graphic>
      </p:graphicFrame>
      <p:graphicFrame>
        <p:nvGraphicFramePr>
          <p:cNvPr id="15" name="Tabelle 14">
            <a:extLst>
              <a:ext uri="{FF2B5EF4-FFF2-40B4-BE49-F238E27FC236}">
                <a16:creationId xmlns:a16="http://schemas.microsoft.com/office/drawing/2014/main" id="{68045E24-AFA4-77A4-A3A9-62610FA3B787}"/>
              </a:ext>
            </a:extLst>
          </p:cNvPr>
          <p:cNvGraphicFramePr>
            <a:graphicFrameLocks noGrp="1"/>
          </p:cNvGraphicFramePr>
          <p:nvPr/>
        </p:nvGraphicFramePr>
        <p:xfrm>
          <a:off x="323527" y="2594318"/>
          <a:ext cx="5433695" cy="616585"/>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1805718714"/>
                    </a:ext>
                  </a:extLst>
                </a:gridCol>
                <a:gridCol w="952500">
                  <a:extLst>
                    <a:ext uri="{9D8B030D-6E8A-4147-A177-3AD203B41FA5}">
                      <a16:colId xmlns:a16="http://schemas.microsoft.com/office/drawing/2014/main" val="1899527224"/>
                    </a:ext>
                  </a:extLst>
                </a:gridCol>
                <a:gridCol w="711200">
                  <a:extLst>
                    <a:ext uri="{9D8B030D-6E8A-4147-A177-3AD203B41FA5}">
                      <a16:colId xmlns:a16="http://schemas.microsoft.com/office/drawing/2014/main" val="2634380879"/>
                    </a:ext>
                  </a:extLst>
                </a:gridCol>
                <a:gridCol w="2755900">
                  <a:extLst>
                    <a:ext uri="{9D8B030D-6E8A-4147-A177-3AD203B41FA5}">
                      <a16:colId xmlns:a16="http://schemas.microsoft.com/office/drawing/2014/main" val="4050515818"/>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12870913"/>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8</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869551577"/>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8545254"/>
                  </a:ext>
                </a:extLst>
              </a:tr>
            </a:tbl>
          </a:graphicData>
        </a:graphic>
      </p:graphicFrame>
      <p:sp>
        <p:nvSpPr>
          <p:cNvPr id="3" name="Fußzeilenplatzhalter 3">
            <a:extLst>
              <a:ext uri="{FF2B5EF4-FFF2-40B4-BE49-F238E27FC236}">
                <a16:creationId xmlns:a16="http://schemas.microsoft.com/office/drawing/2014/main" id="{FAA4F39A-9974-561A-1736-FF0183196235}"/>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12</a:t>
            </a:fld>
            <a:endParaRPr lang="en-GB" dirty="0"/>
          </a:p>
        </p:txBody>
      </p:sp>
    </p:spTree>
    <p:extLst>
      <p:ext uri="{BB962C8B-B14F-4D97-AF65-F5344CB8AC3E}">
        <p14:creationId xmlns:p14="http://schemas.microsoft.com/office/powerpoint/2010/main" val="39914441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a:extLst>
              <a:ext uri="{FF2B5EF4-FFF2-40B4-BE49-F238E27FC236}">
                <a16:creationId xmlns:a16="http://schemas.microsoft.com/office/drawing/2014/main" id="{761DE724-B517-4AC9-9A3F-3D86791A47AC}"/>
              </a:ext>
            </a:extLst>
          </p:cNvPr>
          <p:cNvSpPr>
            <a:spLocks noGrp="1"/>
          </p:cNvSpPr>
          <p:nvPr>
            <p:ph type="title"/>
          </p:nvPr>
        </p:nvSpPr>
        <p:spPr>
          <a:xfrm>
            <a:off x="210368" y="57610"/>
            <a:ext cx="8210100" cy="847800"/>
          </a:xfrm>
        </p:spPr>
        <p:txBody>
          <a:bodyPr/>
          <a:lstStyle/>
          <a:p>
            <a:r>
              <a:rPr lang="nl-NL" dirty="0" err="1"/>
              <a:t>Fatigue</a:t>
            </a:r>
            <a:r>
              <a:rPr lang="nl-NL" dirty="0"/>
              <a:t> </a:t>
            </a:r>
            <a:r>
              <a:rPr lang="nl-NL" dirty="0" err="1"/>
              <a:t>cracking</a:t>
            </a:r>
            <a:r>
              <a:rPr lang="nl-NL" dirty="0"/>
              <a:t> </a:t>
            </a:r>
            <a:r>
              <a:rPr lang="nl-NL" dirty="0" err="1"/>
              <a:t>and</a:t>
            </a:r>
            <a:r>
              <a:rPr lang="nl-NL" dirty="0"/>
              <a:t> creep </a:t>
            </a:r>
            <a:r>
              <a:rPr lang="nl-NL" dirty="0" err="1"/>
              <a:t>evolution</a:t>
            </a:r>
            <a:r>
              <a:rPr lang="nl-NL" dirty="0"/>
              <a:t> of W samples </a:t>
            </a:r>
            <a:r>
              <a:rPr lang="nl-NL" dirty="0" err="1"/>
              <a:t>and</a:t>
            </a:r>
            <a:r>
              <a:rPr lang="nl-NL" dirty="0"/>
              <a:t> W-</a:t>
            </a:r>
            <a:r>
              <a:rPr lang="nl-NL" dirty="0" err="1"/>
              <a:t>monoblocks</a:t>
            </a:r>
            <a:r>
              <a:rPr lang="nl-NL" dirty="0"/>
              <a:t> </a:t>
            </a:r>
            <a:r>
              <a:rPr lang="nl-NL" dirty="0" err="1"/>
              <a:t>exposed</a:t>
            </a:r>
            <a:r>
              <a:rPr lang="nl-NL" dirty="0"/>
              <a:t> </a:t>
            </a:r>
            <a:r>
              <a:rPr lang="nl-NL" dirty="0" err="1"/>
              <a:t>to</a:t>
            </a:r>
            <a:r>
              <a:rPr lang="nl-NL" dirty="0"/>
              <a:t> strike point </a:t>
            </a:r>
            <a:r>
              <a:rPr lang="nl-NL" dirty="0" err="1"/>
              <a:t>sweeping</a:t>
            </a:r>
            <a:endParaRPr lang="nl-NL" dirty="0"/>
          </a:p>
        </p:txBody>
      </p:sp>
      <p:sp>
        <p:nvSpPr>
          <p:cNvPr id="5" name="Tijdelijke aanduiding voor voettekst 4">
            <a:extLst>
              <a:ext uri="{FF2B5EF4-FFF2-40B4-BE49-F238E27FC236}">
                <a16:creationId xmlns:a16="http://schemas.microsoft.com/office/drawing/2014/main" id="{EC8DE4A7-C6DC-4C67-9849-A301DB60C93C}"/>
              </a:ext>
            </a:extLst>
          </p:cNvPr>
          <p:cNvSpPr>
            <a:spLocks noGrp="1"/>
          </p:cNvSpPr>
          <p:nvPr>
            <p:ph type="ftr" sz="quarter" idx="3"/>
          </p:nvPr>
        </p:nvSpPr>
        <p:spPr>
          <a:xfrm>
            <a:off x="804162" y="4600191"/>
            <a:ext cx="3570889" cy="273844"/>
          </a:xfrm>
        </p:spPr>
        <p:txBody>
          <a:bodyPr/>
          <a:lstStyle/>
          <a:p>
            <a:pPr defTabSz="685800">
              <a:defRPr/>
            </a:pPr>
            <a:r>
              <a:rPr lang="nl-NL" dirty="0">
                <a:solidFill>
                  <a:srgbClr val="42677F">
                    <a:lumMod val="40000"/>
                    <a:lumOff val="60000"/>
                  </a:srgbClr>
                </a:solidFill>
                <a:latin typeface="Open Sans"/>
              </a:rPr>
              <a:t>James Hargreaves  |  </a:t>
            </a:r>
            <a:r>
              <a:rPr lang="nl-NL" dirty="0" err="1">
                <a:solidFill>
                  <a:srgbClr val="42677F">
                    <a:lumMod val="40000"/>
                    <a:lumOff val="60000"/>
                  </a:srgbClr>
                </a:solidFill>
                <a:latin typeface="Open Sans"/>
              </a:rPr>
              <a:t>Experimental</a:t>
            </a:r>
            <a:r>
              <a:rPr lang="nl-NL" dirty="0">
                <a:solidFill>
                  <a:srgbClr val="42677F">
                    <a:lumMod val="40000"/>
                    <a:lumOff val="60000"/>
                  </a:srgbClr>
                </a:solidFill>
                <a:latin typeface="Open Sans"/>
              </a:rPr>
              <a:t> s</a:t>
            </a:r>
            <a:r>
              <a:rPr lang="en-GB" dirty="0">
                <a:solidFill>
                  <a:srgbClr val="42677F">
                    <a:lumMod val="40000"/>
                    <a:lumOff val="60000"/>
                  </a:srgbClr>
                </a:solidFill>
                <a:latin typeface="Open Sans"/>
              </a:rPr>
              <a:t>tatus/plans 2024</a:t>
            </a:r>
          </a:p>
        </p:txBody>
      </p:sp>
      <p:sp>
        <p:nvSpPr>
          <p:cNvPr id="6" name="Tijdelijke aanduiding voor dianummer 5">
            <a:extLst>
              <a:ext uri="{FF2B5EF4-FFF2-40B4-BE49-F238E27FC236}">
                <a16:creationId xmlns:a16="http://schemas.microsoft.com/office/drawing/2014/main" id="{3D3B2A0D-171A-4BC9-9999-A169E6314F4A}"/>
              </a:ext>
            </a:extLst>
          </p:cNvPr>
          <p:cNvSpPr>
            <a:spLocks noGrp="1"/>
          </p:cNvSpPr>
          <p:nvPr>
            <p:ph type="sldNum" sz="quarter" idx="4"/>
          </p:nvPr>
        </p:nvSpPr>
        <p:spPr/>
        <p:txBody>
          <a:bodyPr/>
          <a:lstStyle/>
          <a:p>
            <a:pPr defTabSz="685800">
              <a:defRPr/>
            </a:pPr>
            <a:fld id="{CF26CF14-CA55-4C05-9804-096C821AFF5B}" type="slidenum">
              <a:rPr lang="nl-NL">
                <a:solidFill>
                  <a:srgbClr val="42677F">
                    <a:lumMod val="40000"/>
                    <a:lumOff val="60000"/>
                  </a:srgbClr>
                </a:solidFill>
                <a:latin typeface="Open Sans"/>
              </a:rPr>
              <a:pPr defTabSz="685800">
                <a:defRPr/>
              </a:pPr>
              <a:t>13</a:t>
            </a:fld>
            <a:endParaRPr lang="nl-NL">
              <a:solidFill>
                <a:srgbClr val="42677F">
                  <a:lumMod val="40000"/>
                  <a:lumOff val="60000"/>
                </a:srgbClr>
              </a:solidFill>
              <a:latin typeface="Open Sans"/>
            </a:endParaRPr>
          </a:p>
        </p:txBody>
      </p:sp>
      <p:sp>
        <p:nvSpPr>
          <p:cNvPr id="3" name="Rectangle 2">
            <a:extLst>
              <a:ext uri="{FF2B5EF4-FFF2-40B4-BE49-F238E27FC236}">
                <a16:creationId xmlns:a16="http://schemas.microsoft.com/office/drawing/2014/main" id="{CC241891-66EF-0706-4A63-6311B68E1ADC}"/>
              </a:ext>
            </a:extLst>
          </p:cNvPr>
          <p:cNvSpPr/>
          <p:nvPr/>
        </p:nvSpPr>
        <p:spPr>
          <a:xfrm>
            <a:off x="8480100" y="4554901"/>
            <a:ext cx="331783" cy="25907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a:defRPr/>
            </a:pPr>
            <a:endParaRPr lang="en-GB" sz="1350">
              <a:solidFill>
                <a:srgbClr val="FFFFFF"/>
              </a:solidFill>
              <a:latin typeface="Open Sans"/>
            </a:endParaRPr>
          </a:p>
        </p:txBody>
      </p:sp>
      <p:sp>
        <p:nvSpPr>
          <p:cNvPr id="8" name="Rectangle 7">
            <a:extLst>
              <a:ext uri="{FF2B5EF4-FFF2-40B4-BE49-F238E27FC236}">
                <a16:creationId xmlns:a16="http://schemas.microsoft.com/office/drawing/2014/main" id="{BB444483-FB4E-6381-DDCE-ED84A875D602}"/>
              </a:ext>
            </a:extLst>
          </p:cNvPr>
          <p:cNvSpPr/>
          <p:nvPr/>
        </p:nvSpPr>
        <p:spPr>
          <a:xfrm>
            <a:off x="270000" y="1115171"/>
            <a:ext cx="4105050" cy="3424955"/>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defTabSz="685800"/>
            <a:endParaRPr lang="nl-NL" sz="1350">
              <a:solidFill>
                <a:srgbClr val="A0A0A0"/>
              </a:solidFill>
              <a:latin typeface="Open Sans"/>
            </a:endParaRPr>
          </a:p>
        </p:txBody>
      </p:sp>
      <p:sp>
        <p:nvSpPr>
          <p:cNvPr id="11" name="TextBox 10">
            <a:extLst>
              <a:ext uri="{FF2B5EF4-FFF2-40B4-BE49-F238E27FC236}">
                <a16:creationId xmlns:a16="http://schemas.microsoft.com/office/drawing/2014/main" id="{87C5AB8D-6A87-46D3-0847-1E84541A3F1D}"/>
              </a:ext>
            </a:extLst>
          </p:cNvPr>
          <p:cNvSpPr txBox="1"/>
          <p:nvPr/>
        </p:nvSpPr>
        <p:spPr>
          <a:xfrm>
            <a:off x="198946" y="861529"/>
            <a:ext cx="4053522" cy="507831"/>
          </a:xfrm>
          <a:prstGeom prst="rect">
            <a:avLst/>
          </a:prstGeom>
          <a:noFill/>
        </p:spPr>
        <p:txBody>
          <a:bodyPr wrap="square">
            <a:spAutoFit/>
          </a:bodyPr>
          <a:lstStyle/>
          <a:p>
            <a:pPr defTabSz="685800"/>
            <a:r>
              <a:rPr lang="en-GB" sz="1350" b="1" dirty="0">
                <a:solidFill>
                  <a:srgbClr val="174353"/>
                </a:solidFill>
                <a:latin typeface="Open Sans" panose="020B0606030504020204" pitchFamily="34" charset="0"/>
                <a:ea typeface="Open Sans" panose="020B0606030504020204" pitchFamily="34" charset="0"/>
                <a:cs typeface="Open Sans" panose="020B0606030504020204" pitchFamily="34" charset="0"/>
              </a:rPr>
              <a:t>Experiment 1 (w/c 22</a:t>
            </a:r>
            <a:r>
              <a:rPr lang="en-GB" sz="1350" b="1" baseline="30000" dirty="0">
                <a:solidFill>
                  <a:srgbClr val="174353"/>
                </a:solidFill>
                <a:latin typeface="Open Sans" panose="020B0606030504020204" pitchFamily="34" charset="0"/>
                <a:ea typeface="Open Sans" panose="020B0606030504020204" pitchFamily="34" charset="0"/>
                <a:cs typeface="Open Sans" panose="020B0606030504020204" pitchFamily="34" charset="0"/>
              </a:rPr>
              <a:t>nd</a:t>
            </a:r>
            <a:r>
              <a:rPr lang="en-GB" sz="1350" b="1" dirty="0">
                <a:solidFill>
                  <a:srgbClr val="174353"/>
                </a:solidFill>
                <a:latin typeface="Open Sans" panose="020B0606030504020204" pitchFamily="34" charset="0"/>
                <a:ea typeface="Open Sans" panose="020B0606030504020204" pitchFamily="34" charset="0"/>
                <a:cs typeface="Open Sans" panose="020B0606030504020204" pitchFamily="34" charset="0"/>
              </a:rPr>
              <a:t> April)</a:t>
            </a:r>
            <a:br>
              <a:rPr lang="en-GB" sz="1350" dirty="0">
                <a:solidFill>
                  <a:srgbClr val="174353"/>
                </a:solidFill>
                <a:latin typeface="Open Sans" panose="020B0606030504020204" pitchFamily="34" charset="0"/>
                <a:ea typeface="Open Sans" panose="020B0606030504020204" pitchFamily="34" charset="0"/>
                <a:cs typeface="Open Sans" panose="020B0606030504020204" pitchFamily="34" charset="0"/>
              </a:rPr>
            </a:br>
            <a:endParaRPr lang="nl-NL" sz="1350"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0" name="Picture 19" descr="A graph of a function&#10;&#10;Description automatically generated">
            <a:extLst>
              <a:ext uri="{FF2B5EF4-FFF2-40B4-BE49-F238E27FC236}">
                <a16:creationId xmlns:a16="http://schemas.microsoft.com/office/drawing/2014/main" id="{E4D29EE7-E354-F18C-563D-2BD3AA10ADDC}"/>
              </a:ext>
            </a:extLst>
          </p:cNvPr>
          <p:cNvPicPr>
            <a:picLocks noChangeAspect="1"/>
          </p:cNvPicPr>
          <p:nvPr/>
        </p:nvPicPr>
        <p:blipFill rotWithShape="1">
          <a:blip r:embed="rId3">
            <a:extLst>
              <a:ext uri="{28A0092B-C50C-407E-A947-70E740481C1C}">
                <a14:useLocalDpi xmlns:a14="http://schemas.microsoft.com/office/drawing/2010/main" val="0"/>
              </a:ext>
            </a:extLst>
          </a:blip>
          <a:srcRect t="14352" r="5129" b="4861"/>
          <a:stretch/>
        </p:blipFill>
        <p:spPr bwMode="auto">
          <a:xfrm>
            <a:off x="1336852" y="2001915"/>
            <a:ext cx="2915616" cy="1773250"/>
          </a:xfrm>
          <a:prstGeom prst="rect">
            <a:avLst/>
          </a:prstGeom>
          <a:ln>
            <a:noFill/>
          </a:ln>
          <a:extLst>
            <a:ext uri="{53640926-AAD7-44D8-BBD7-CCE9431645EC}">
              <a14:shadowObscured xmlns:a14="http://schemas.microsoft.com/office/drawing/2010/main"/>
            </a:ext>
          </a:extLst>
        </p:spPr>
      </p:pic>
      <p:sp>
        <p:nvSpPr>
          <p:cNvPr id="19" name="TextBox 18">
            <a:extLst>
              <a:ext uri="{FF2B5EF4-FFF2-40B4-BE49-F238E27FC236}">
                <a16:creationId xmlns:a16="http://schemas.microsoft.com/office/drawing/2014/main" id="{F6CAA8E1-1E11-FD10-B9B3-DFB6419E448E}"/>
              </a:ext>
            </a:extLst>
          </p:cNvPr>
          <p:cNvSpPr txBox="1"/>
          <p:nvPr/>
        </p:nvSpPr>
        <p:spPr>
          <a:xfrm>
            <a:off x="249969" y="1133936"/>
            <a:ext cx="4125081" cy="830997"/>
          </a:xfrm>
          <a:prstGeom prst="rect">
            <a:avLst/>
          </a:prstGeom>
          <a:noFill/>
        </p:spPr>
        <p:txBody>
          <a:bodyPr wrap="square">
            <a:spAutoFit/>
          </a:bodyPr>
          <a:lstStyle/>
          <a:p>
            <a:pPr algn="just" defTabSz="685800"/>
            <a:r>
              <a:rPr lang="en-GB"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Test Magnum-PSI modifications (plasma pulsing) that enable </a:t>
            </a:r>
            <a:r>
              <a:rPr lang="en-GB"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strikepoint</a:t>
            </a:r>
            <a:r>
              <a:rPr lang="en-GB"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sweeping testing under reattached DEMO divertor conditions (</a:t>
            </a:r>
            <a:r>
              <a:rPr lang="en-GB"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Maviglia</a:t>
            </a:r>
            <a:r>
              <a:rPr lang="en-GB"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2016):</a:t>
            </a:r>
          </a:p>
          <a:p>
            <a:pPr defTabSz="685800"/>
            <a:r>
              <a:rPr lang="en-GB" sz="1200" i="1" dirty="0">
                <a:solidFill>
                  <a:srgbClr val="174353"/>
                </a:solidFill>
                <a:latin typeface="Open Sans" panose="020B0606030504020204" pitchFamily="34" charset="0"/>
                <a:ea typeface="Open Sans" panose="020B0606030504020204" pitchFamily="34" charset="0"/>
                <a:cs typeface="Open Sans" panose="020B0606030504020204" pitchFamily="34" charset="0"/>
              </a:rPr>
              <a:t>Q = 15, 30 MW m</a:t>
            </a:r>
            <a:r>
              <a:rPr lang="en-GB" sz="1200" i="1" baseline="30000" dirty="0">
                <a:solidFill>
                  <a:srgbClr val="174353"/>
                </a:solidFill>
                <a:latin typeface="Open Sans" panose="020B0606030504020204" pitchFamily="34" charset="0"/>
                <a:ea typeface="Open Sans" panose="020B0606030504020204" pitchFamily="34" charset="0"/>
                <a:cs typeface="Open Sans" panose="020B0606030504020204" pitchFamily="34" charset="0"/>
              </a:rPr>
              <a:t>-2</a:t>
            </a:r>
            <a:r>
              <a:rPr lang="en-GB" sz="1200" i="1" dirty="0">
                <a:solidFill>
                  <a:srgbClr val="174353"/>
                </a:solidFill>
                <a:latin typeface="Open Sans" panose="020B0606030504020204" pitchFamily="34" charset="0"/>
                <a:ea typeface="Open Sans" panose="020B0606030504020204" pitchFamily="34" charset="0"/>
                <a:cs typeface="Open Sans" panose="020B0606030504020204" pitchFamily="34" charset="0"/>
              </a:rPr>
              <a:t>,</a:t>
            </a:r>
            <a:r>
              <a:rPr lang="en-GB" sz="1200" i="1" baseline="30000" dirty="0">
                <a:solidFill>
                  <a:srgbClr val="174353"/>
                </a:solidFill>
                <a:latin typeface="Open Sans" panose="020B0606030504020204" pitchFamily="34" charset="0"/>
                <a:ea typeface="Open Sans" panose="020B0606030504020204" pitchFamily="34" charset="0"/>
                <a:cs typeface="Open Sans" panose="020B0606030504020204" pitchFamily="34" charset="0"/>
              </a:rPr>
              <a:t>  </a:t>
            </a:r>
            <a:r>
              <a:rPr lang="en-US" sz="1200" i="1" dirty="0" err="1">
                <a:solidFill>
                  <a:srgbClr val="174353"/>
                </a:solidFill>
                <a:latin typeface="Open Sans" panose="020B0606030504020204" pitchFamily="34" charset="0"/>
                <a:ea typeface="Open Sans" panose="020B0606030504020204" pitchFamily="34" charset="0"/>
                <a:cs typeface="Open Sans" panose="020B0606030504020204" pitchFamily="34" charset="0"/>
                <a:sym typeface="Helvetica Neue"/>
              </a:rPr>
              <a:t>f</a:t>
            </a:r>
            <a:r>
              <a:rPr lang="en-US" sz="1200" i="1" baseline="-25000" dirty="0" err="1">
                <a:solidFill>
                  <a:srgbClr val="174353"/>
                </a:solidFill>
                <a:latin typeface="Open Sans" panose="020B0606030504020204" pitchFamily="34" charset="0"/>
                <a:ea typeface="Open Sans" panose="020B0606030504020204" pitchFamily="34" charset="0"/>
                <a:cs typeface="Open Sans" panose="020B0606030504020204" pitchFamily="34" charset="0"/>
                <a:sym typeface="Helvetica Neue"/>
              </a:rPr>
              <a:t>sw</a:t>
            </a:r>
            <a:r>
              <a:rPr lang="en-US" sz="1200" i="1" dirty="0">
                <a:solidFill>
                  <a:srgbClr val="174353"/>
                </a:solidFill>
                <a:latin typeface="Open Sans" panose="020B0606030504020204" pitchFamily="34" charset="0"/>
                <a:ea typeface="Open Sans" panose="020B0606030504020204" pitchFamily="34" charset="0"/>
                <a:cs typeface="Open Sans" panose="020B0606030504020204" pitchFamily="34" charset="0"/>
                <a:sym typeface="Helvetica Neue"/>
              </a:rPr>
              <a:t> =  0.5 – 5 Hz,  </a:t>
            </a:r>
            <a:r>
              <a:rPr lang="en-US" sz="1200" i="1"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A</a:t>
            </a:r>
            <a:r>
              <a:rPr lang="en-US" sz="1200" i="1" baseline="-250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sw</a:t>
            </a:r>
            <a:r>
              <a:rPr lang="en-US" sz="1200" i="1" dirty="0">
                <a:solidFill>
                  <a:srgbClr val="174353"/>
                </a:solidFill>
                <a:latin typeface="Open Sans" panose="020B0606030504020204" pitchFamily="34" charset="0"/>
                <a:ea typeface="Open Sans" panose="020B0606030504020204" pitchFamily="34" charset="0"/>
                <a:cs typeface="Open Sans" panose="020B0606030504020204" pitchFamily="34" charset="0"/>
              </a:rPr>
              <a:t> = 50 – 400 mm</a:t>
            </a:r>
          </a:p>
        </p:txBody>
      </p:sp>
      <p:sp>
        <p:nvSpPr>
          <p:cNvPr id="21" name="TextBox 20">
            <a:extLst>
              <a:ext uri="{FF2B5EF4-FFF2-40B4-BE49-F238E27FC236}">
                <a16:creationId xmlns:a16="http://schemas.microsoft.com/office/drawing/2014/main" id="{55CB537C-C622-9103-6A6E-E1481AD9B284}"/>
              </a:ext>
            </a:extLst>
          </p:cNvPr>
          <p:cNvSpPr txBox="1"/>
          <p:nvPr/>
        </p:nvSpPr>
        <p:spPr>
          <a:xfrm>
            <a:off x="285749" y="3727670"/>
            <a:ext cx="4053522" cy="830997"/>
          </a:xfrm>
          <a:prstGeom prst="rect">
            <a:avLst/>
          </a:prstGeom>
          <a:noFill/>
        </p:spPr>
        <p:txBody>
          <a:bodyPr wrap="square">
            <a:spAutoFit/>
          </a:bodyPr>
          <a:lstStyle/>
          <a:p>
            <a:pPr algn="just" defTabSz="685800"/>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Use Magnum-PSI to induce low cycle fatigue in W targets.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Characterise</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via SEM/EBSD, and compare against literature data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Schmunk</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1984) to explore how H</a:t>
            </a:r>
            <a:r>
              <a:rPr lang="en-US" sz="1200" baseline="30000" dirty="0">
                <a:solidFill>
                  <a:srgbClr val="174353"/>
                </a:solidFill>
                <a:latin typeface="Open Sans" panose="020B0606030504020204" pitchFamily="34" charset="0"/>
                <a:ea typeface="Open Sans" panose="020B0606030504020204" pitchFamily="34" charset="0"/>
                <a:cs typeface="Open Sans" panose="020B0606030504020204" pitchFamily="34" charset="0"/>
              </a:rPr>
              <a:t>+</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plasma-loading affects W fatigue crack initiation.</a:t>
            </a:r>
            <a:endParaRPr lang="en-US" sz="1050" i="1"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4" name="Rectangle 23">
            <a:extLst>
              <a:ext uri="{FF2B5EF4-FFF2-40B4-BE49-F238E27FC236}">
                <a16:creationId xmlns:a16="http://schemas.microsoft.com/office/drawing/2014/main" id="{33E7F49A-6919-04D4-C88F-2FA05E999EC9}"/>
              </a:ext>
            </a:extLst>
          </p:cNvPr>
          <p:cNvSpPr/>
          <p:nvPr/>
        </p:nvSpPr>
        <p:spPr>
          <a:xfrm>
            <a:off x="4646369" y="1115171"/>
            <a:ext cx="4105050" cy="3424955"/>
          </a:xfrm>
          <a:prstGeom prst="rect">
            <a:avLst/>
          </a:prstGeom>
        </p:spPr>
        <p:style>
          <a:lnRef idx="2">
            <a:schemeClr val="accent5"/>
          </a:lnRef>
          <a:fillRef idx="1">
            <a:schemeClr val="lt1"/>
          </a:fillRef>
          <a:effectRef idx="0">
            <a:schemeClr val="accent5"/>
          </a:effectRef>
          <a:fontRef idx="minor">
            <a:schemeClr val="dk1"/>
          </a:fontRef>
        </p:style>
        <p:txBody>
          <a:bodyPr rtlCol="0" anchor="ctr"/>
          <a:lstStyle/>
          <a:p>
            <a:pPr algn="ctr" defTabSz="685800"/>
            <a:endParaRPr lang="nl-NL" sz="1350">
              <a:solidFill>
                <a:srgbClr val="A0A0A0"/>
              </a:solidFill>
              <a:latin typeface="Open Sans"/>
            </a:endParaRPr>
          </a:p>
        </p:txBody>
      </p:sp>
      <p:sp>
        <p:nvSpPr>
          <p:cNvPr id="25" name="TextBox 24">
            <a:extLst>
              <a:ext uri="{FF2B5EF4-FFF2-40B4-BE49-F238E27FC236}">
                <a16:creationId xmlns:a16="http://schemas.microsoft.com/office/drawing/2014/main" id="{5D8B870E-1E36-B234-4109-62B26AB9A65E}"/>
              </a:ext>
            </a:extLst>
          </p:cNvPr>
          <p:cNvSpPr txBox="1"/>
          <p:nvPr/>
        </p:nvSpPr>
        <p:spPr>
          <a:xfrm>
            <a:off x="4575315" y="861529"/>
            <a:ext cx="4053522" cy="507831"/>
          </a:xfrm>
          <a:prstGeom prst="rect">
            <a:avLst/>
          </a:prstGeom>
          <a:noFill/>
        </p:spPr>
        <p:txBody>
          <a:bodyPr wrap="square">
            <a:spAutoFit/>
          </a:bodyPr>
          <a:lstStyle/>
          <a:p>
            <a:pPr defTabSz="685800"/>
            <a:r>
              <a:rPr lang="en-GB" sz="1350" b="1" dirty="0">
                <a:solidFill>
                  <a:srgbClr val="174353"/>
                </a:solidFill>
                <a:latin typeface="Open Sans" panose="020B0606030504020204" pitchFamily="34" charset="0"/>
                <a:ea typeface="Open Sans" panose="020B0606030504020204" pitchFamily="34" charset="0"/>
                <a:cs typeface="Open Sans" panose="020B0606030504020204" pitchFamily="34" charset="0"/>
              </a:rPr>
              <a:t>Experiment 2 (TBC, est. summer 2024)</a:t>
            </a:r>
            <a:br>
              <a:rPr lang="en-GB" sz="1350" dirty="0">
                <a:solidFill>
                  <a:srgbClr val="174353"/>
                </a:solidFill>
                <a:latin typeface="Open Sans" panose="020B0606030504020204" pitchFamily="34" charset="0"/>
                <a:ea typeface="Open Sans" panose="020B0606030504020204" pitchFamily="34" charset="0"/>
                <a:cs typeface="Open Sans" panose="020B0606030504020204" pitchFamily="34" charset="0"/>
              </a:rPr>
            </a:br>
            <a:endParaRPr lang="nl-NL" sz="1350"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TextBox 26">
            <a:extLst>
              <a:ext uri="{FF2B5EF4-FFF2-40B4-BE49-F238E27FC236}">
                <a16:creationId xmlns:a16="http://schemas.microsoft.com/office/drawing/2014/main" id="{C1493945-121E-EA92-5DCC-ACB5BA730D36}"/>
              </a:ext>
            </a:extLst>
          </p:cNvPr>
          <p:cNvSpPr txBox="1"/>
          <p:nvPr/>
        </p:nvSpPr>
        <p:spPr>
          <a:xfrm>
            <a:off x="4626338" y="1133936"/>
            <a:ext cx="4125081" cy="1200329"/>
          </a:xfrm>
          <a:prstGeom prst="rect">
            <a:avLst/>
          </a:prstGeom>
          <a:noFill/>
        </p:spPr>
        <p:txBody>
          <a:bodyPr wrap="square">
            <a:spAutoFit/>
          </a:bodyPr>
          <a:lstStyle/>
          <a:p>
            <a:pPr algn="just" defTabSz="685800"/>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Using the new Magnum-PSI test regime, expose pristine,  ELM pre-cracked, and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recrystalised</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monoblock</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mockups (and/or W samples) to DEMO-representative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strikepoint</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sweeping at a range of base temperatures. Compare to existing studies without plasma effects (You 2022):</a:t>
            </a:r>
            <a:endParaRPr lang="en-US" sz="1050" i="1"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Box 27">
            <a:extLst>
              <a:ext uri="{FF2B5EF4-FFF2-40B4-BE49-F238E27FC236}">
                <a16:creationId xmlns:a16="http://schemas.microsoft.com/office/drawing/2014/main" id="{3FF48A6F-121B-E0C0-C99E-1B353ABB8212}"/>
              </a:ext>
            </a:extLst>
          </p:cNvPr>
          <p:cNvSpPr txBox="1"/>
          <p:nvPr/>
        </p:nvSpPr>
        <p:spPr>
          <a:xfrm>
            <a:off x="4663838" y="3690415"/>
            <a:ext cx="4053522" cy="830997"/>
          </a:xfrm>
          <a:prstGeom prst="rect">
            <a:avLst/>
          </a:prstGeom>
          <a:noFill/>
        </p:spPr>
        <p:txBody>
          <a:bodyPr wrap="square">
            <a:spAutoFit/>
          </a:bodyPr>
          <a:lstStyle/>
          <a:p>
            <a:pPr algn="just" defTabSz="685800"/>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Derive experimentally-validated Coffin-Manson parameters for pristine, </a:t>
            </a:r>
            <a:r>
              <a:rPr lang="en-US" sz="12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recrystalised</a:t>
            </a:r>
            <a:r>
              <a:rPr lang="en-US" sz="1200" dirty="0">
                <a:solidFill>
                  <a:srgbClr val="174353"/>
                </a:solidFill>
                <a:latin typeface="Open Sans" panose="020B0606030504020204" pitchFamily="34" charset="0"/>
                <a:ea typeface="Open Sans" panose="020B0606030504020204" pitchFamily="34" charset="0"/>
                <a:cs typeface="Open Sans" panose="020B0606030504020204" pitchFamily="34" charset="0"/>
              </a:rPr>
              <a:t>, and pre-cracked W under H+ plasma loading. Also explore effect of temperature on fatigue life (creep-fatigue interaction).</a:t>
            </a:r>
            <a:endParaRPr lang="en-US" sz="1050" i="1"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45C32900-C857-CBB3-550E-CC4ECCD938AE}"/>
              </a:ext>
            </a:extLst>
          </p:cNvPr>
          <p:cNvSpPr txBox="1"/>
          <p:nvPr/>
        </p:nvSpPr>
        <p:spPr>
          <a:xfrm>
            <a:off x="7127287" y="2450440"/>
            <a:ext cx="1501550" cy="7848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800"/>
            <a:r>
              <a:rPr lang="en-US" sz="900" dirty="0">
                <a:solidFill>
                  <a:srgbClr val="174353"/>
                </a:solidFill>
                <a:latin typeface="Open Sans" panose="020B0606030504020204" pitchFamily="34" charset="0"/>
                <a:ea typeface="Open Sans" panose="020B0606030504020204" pitchFamily="34" charset="0"/>
                <a:cs typeface="Open Sans" panose="020B0606030504020204" pitchFamily="34" charset="0"/>
              </a:rPr>
              <a:t>Fig 2. Surface cracking of </a:t>
            </a:r>
            <a:r>
              <a:rPr lang="en-US" sz="9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monoblock</a:t>
            </a:r>
            <a:r>
              <a:rPr lang="en-US" sz="900" dirty="0">
                <a:solidFill>
                  <a:srgbClr val="174353"/>
                </a:solidFill>
                <a:latin typeface="Open Sans" panose="020B0606030504020204" pitchFamily="34" charset="0"/>
                <a:ea typeface="Open Sans" panose="020B0606030504020204" pitchFamily="34" charset="0"/>
                <a:cs typeface="Open Sans" panose="020B0606030504020204" pitchFamily="34" charset="0"/>
              </a:rPr>
              <a:t> mockups exposed to 100 cycles of 25 MW m</a:t>
            </a:r>
            <a:r>
              <a:rPr lang="en-US" sz="900" baseline="30000" dirty="0">
                <a:solidFill>
                  <a:srgbClr val="174353"/>
                </a:solidFill>
                <a:latin typeface="Open Sans" panose="020B0606030504020204" pitchFamily="34" charset="0"/>
                <a:ea typeface="Open Sans" panose="020B0606030504020204" pitchFamily="34" charset="0"/>
                <a:cs typeface="Open Sans" panose="020B0606030504020204" pitchFamily="34" charset="0"/>
              </a:rPr>
              <a:t>-2 </a:t>
            </a:r>
          </a:p>
          <a:p>
            <a:pPr defTabSz="685800"/>
            <a:r>
              <a:rPr lang="en-US" sz="900" dirty="0">
                <a:solidFill>
                  <a:srgbClr val="174353"/>
                </a:solidFill>
                <a:latin typeface="Open Sans" panose="020B0606030504020204" pitchFamily="34" charset="0"/>
                <a:ea typeface="Open Sans" panose="020B0606030504020204" pitchFamily="34" charset="0"/>
                <a:cs typeface="Open Sans" panose="020B0606030504020204" pitchFamily="34" charset="0"/>
              </a:rPr>
              <a:t>(You 2022)</a:t>
            </a:r>
            <a:endParaRPr lang="nl-NL" sz="900"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TextBox 28">
            <a:extLst>
              <a:ext uri="{FF2B5EF4-FFF2-40B4-BE49-F238E27FC236}">
                <a16:creationId xmlns:a16="http://schemas.microsoft.com/office/drawing/2014/main" id="{0B7754C4-B607-0E09-6DD4-87D43B2515B4}"/>
              </a:ext>
            </a:extLst>
          </p:cNvPr>
          <p:cNvSpPr txBox="1"/>
          <p:nvPr/>
        </p:nvSpPr>
        <p:spPr>
          <a:xfrm>
            <a:off x="286322" y="2311939"/>
            <a:ext cx="1176858" cy="923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defTabSz="685800"/>
            <a:r>
              <a:rPr lang="en-US" sz="900" dirty="0">
                <a:solidFill>
                  <a:srgbClr val="174353"/>
                </a:solidFill>
                <a:latin typeface="Open Sans" panose="020B0606030504020204" pitchFamily="34" charset="0"/>
                <a:ea typeface="Open Sans" panose="020B0606030504020204" pitchFamily="34" charset="0"/>
                <a:cs typeface="Open Sans" panose="020B0606030504020204" pitchFamily="34" charset="0"/>
              </a:rPr>
              <a:t>Fig. 1. Emulating </a:t>
            </a:r>
            <a:r>
              <a:rPr lang="en-US" sz="900" dirty="0" err="1">
                <a:solidFill>
                  <a:srgbClr val="174353"/>
                </a:solidFill>
                <a:latin typeface="Open Sans" panose="020B0606030504020204" pitchFamily="34" charset="0"/>
                <a:ea typeface="Open Sans" panose="020B0606030504020204" pitchFamily="34" charset="0"/>
                <a:cs typeface="Open Sans" panose="020B0606030504020204" pitchFamily="34" charset="0"/>
              </a:rPr>
              <a:t>strikepoint</a:t>
            </a:r>
            <a:r>
              <a:rPr lang="en-US" sz="900" dirty="0">
                <a:solidFill>
                  <a:srgbClr val="174353"/>
                </a:solidFill>
                <a:latin typeface="Open Sans" panose="020B0606030504020204" pitchFamily="34" charset="0"/>
                <a:ea typeface="Open Sans" panose="020B0606030504020204" pitchFamily="34" charset="0"/>
                <a:cs typeface="Open Sans" panose="020B0606030504020204" pitchFamily="34" charset="0"/>
              </a:rPr>
              <a:t> sweeping in DEMO by pulsing Magnum-PSI’s current source.</a:t>
            </a:r>
            <a:endParaRPr lang="nl-NL" sz="900" dirty="0">
              <a:solidFill>
                <a:srgbClr val="17435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26" name="Picture 2">
            <a:extLst>
              <a:ext uri="{FF2B5EF4-FFF2-40B4-BE49-F238E27FC236}">
                <a16:creationId xmlns:a16="http://schemas.microsoft.com/office/drawing/2014/main" id="{E345F140-6984-6ADF-6115-92F135E1D8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48339" y="2290781"/>
            <a:ext cx="2099878" cy="12787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2760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3</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a:solidFill>
                  <a:srgbClr val="E3E3E3"/>
                </a:solidFill>
              </a:rPr>
              <a:t>Planning</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225195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638112-A946-CADF-FDF1-F3DD416C08CC}"/>
              </a:ext>
            </a:extLst>
          </p:cNvPr>
          <p:cNvSpPr>
            <a:spLocks noGrp="1"/>
          </p:cNvSpPr>
          <p:nvPr>
            <p:ph type="title"/>
          </p:nvPr>
        </p:nvSpPr>
        <p:spPr/>
        <p:txBody>
          <a:bodyPr/>
          <a:lstStyle/>
          <a:p>
            <a:r>
              <a:rPr lang="en-GB" dirty="0"/>
              <a:t>SPA 3</a:t>
            </a:r>
          </a:p>
        </p:txBody>
      </p:sp>
      <p:sp>
        <p:nvSpPr>
          <p:cNvPr id="8" name="Textfeld 7">
            <a:extLst>
              <a:ext uri="{FF2B5EF4-FFF2-40B4-BE49-F238E27FC236}">
                <a16:creationId xmlns:a16="http://schemas.microsoft.com/office/drawing/2014/main" id="{C785D113-9C99-96CA-A696-F750319EC538}"/>
              </a:ext>
            </a:extLst>
          </p:cNvPr>
          <p:cNvSpPr txBox="1"/>
          <p:nvPr/>
        </p:nvSpPr>
        <p:spPr>
          <a:xfrm>
            <a:off x="251520" y="669446"/>
            <a:ext cx="4663980" cy="646331"/>
          </a:xfrm>
          <a:prstGeom prst="rect">
            <a:avLst/>
          </a:prstGeom>
          <a:noFill/>
        </p:spPr>
        <p:txBody>
          <a:bodyPr wrap="square">
            <a:spAutoFit/>
          </a:bodyPr>
          <a:lstStyle/>
          <a:p>
            <a:r>
              <a:rPr lang="en-US" sz="1800" dirty="0">
                <a:solidFill>
                  <a:srgbClr val="000000"/>
                </a:solidFill>
                <a:effectLst/>
                <a:latin typeface="Calibri" panose="020F0502020204030204" pitchFamily="34" charset="0"/>
                <a:ea typeface="SimSun" panose="02010600030101010101" pitchFamily="2" charset="-122"/>
              </a:rPr>
              <a:t>SP A.3 / Advanced Materials under thermo-mechanical and plasma loads</a:t>
            </a:r>
            <a:r>
              <a:rPr lang="de-DE" dirty="0">
                <a:effectLst/>
              </a:rPr>
              <a:t> </a:t>
            </a:r>
            <a:endParaRPr lang="en-GB" dirty="0"/>
          </a:p>
        </p:txBody>
      </p:sp>
      <p:graphicFrame>
        <p:nvGraphicFramePr>
          <p:cNvPr id="4" name="Tabelle 3">
            <a:extLst>
              <a:ext uri="{FF2B5EF4-FFF2-40B4-BE49-F238E27FC236}">
                <a16:creationId xmlns:a16="http://schemas.microsoft.com/office/drawing/2014/main" id="{1F55A96B-F5C6-4DB7-32C3-0CE2A5DB6397}"/>
              </a:ext>
            </a:extLst>
          </p:cNvPr>
          <p:cNvGraphicFramePr>
            <a:graphicFrameLocks noGrp="1"/>
          </p:cNvGraphicFramePr>
          <p:nvPr/>
        </p:nvGraphicFramePr>
        <p:xfrm>
          <a:off x="107504" y="1290975"/>
          <a:ext cx="5433695" cy="2003172"/>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2062272689"/>
                    </a:ext>
                  </a:extLst>
                </a:gridCol>
                <a:gridCol w="774700">
                  <a:extLst>
                    <a:ext uri="{9D8B030D-6E8A-4147-A177-3AD203B41FA5}">
                      <a16:colId xmlns:a16="http://schemas.microsoft.com/office/drawing/2014/main" val="1630054989"/>
                    </a:ext>
                  </a:extLst>
                </a:gridCol>
                <a:gridCol w="711200">
                  <a:extLst>
                    <a:ext uri="{9D8B030D-6E8A-4147-A177-3AD203B41FA5}">
                      <a16:colId xmlns:a16="http://schemas.microsoft.com/office/drawing/2014/main" val="54020975"/>
                    </a:ext>
                  </a:extLst>
                </a:gridCol>
                <a:gridCol w="2755900">
                  <a:extLst>
                    <a:ext uri="{9D8B030D-6E8A-4147-A177-3AD203B41FA5}">
                      <a16:colId xmlns:a16="http://schemas.microsoft.com/office/drawing/2014/main" val="1744184823"/>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5366982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J.W. Coene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D001 (M. Wirtz, J.W. Coenen, A. Litnovsk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0586876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de-DE"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940445821"/>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de-DE"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96432931"/>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D. Terentye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de-DE" sz="1100">
                          <a:effectLst/>
                        </a:rPr>
                        <a:t>D00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0691029"/>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J. 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pPr>
                      <a:r>
                        <a:rPr lang="en-US" sz="1100" dirty="0">
                          <a:effectLst/>
                        </a:rPr>
                        <a:t>D002, D006 (B. </a:t>
                      </a:r>
                      <a:r>
                        <a:rPr lang="en-US" sz="1100" dirty="0" err="1">
                          <a:effectLst/>
                        </a:rPr>
                        <a:t>Curzadd</a:t>
                      </a:r>
                      <a:r>
                        <a:rPr lang="en-US" sz="1100" dirty="0">
                          <a:effectLst/>
                        </a:rPr>
                        <a:t>, S. </a:t>
                      </a:r>
                      <a:r>
                        <a:rPr lang="en-US" sz="1100" dirty="0" err="1">
                          <a:effectLst/>
                        </a:rPr>
                        <a:t>Elgeti</a:t>
                      </a:r>
                      <a:r>
                        <a:rPr lang="en-US" sz="1100" dirty="0">
                          <a:effectLst/>
                        </a:rPr>
                        <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670782633"/>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 Terentyev</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LPP-ERM/KM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1.9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pPr>
                      <a:r>
                        <a:rPr lang="en-US" sz="1100" dirty="0">
                          <a:effectLst/>
                        </a:rPr>
                        <a:t>D007</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09471036"/>
                  </a:ext>
                </a:extLst>
              </a:tr>
              <a:tr h="220345">
                <a:tc>
                  <a:txBody>
                    <a:bodyPr/>
                    <a:lstStyle/>
                    <a:p>
                      <a:pPr>
                        <a:lnSpc>
                          <a:spcPct val="115000"/>
                        </a:lnSpc>
                        <a:spcBef>
                          <a:spcPts val="240"/>
                        </a:spcBef>
                        <a:spcAft>
                          <a:spcPts val="240"/>
                        </a:spcAft>
                        <a:tabLst>
                          <a:tab pos="-914400" algn="l"/>
                          <a:tab pos="457200" algn="l"/>
                          <a:tab pos="1029970" algn="l"/>
                          <a:tab pos="1371600" algn="l"/>
                        </a:tabLst>
                      </a:pPr>
                      <a:r>
                        <a:rPr lang="en-GB"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GB"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GB" sz="1100" spc="-15">
                          <a:effectLst/>
                        </a:rPr>
                        <a:t>29.9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GB"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90098383"/>
                  </a:ext>
                </a:extLst>
              </a:tr>
            </a:tbl>
          </a:graphicData>
        </a:graphic>
      </p:graphicFrame>
      <p:graphicFrame>
        <p:nvGraphicFramePr>
          <p:cNvPr id="7" name="Tabelle 6">
            <a:extLst>
              <a:ext uri="{FF2B5EF4-FFF2-40B4-BE49-F238E27FC236}">
                <a16:creationId xmlns:a16="http://schemas.microsoft.com/office/drawing/2014/main" id="{740DECE7-4A89-20BB-256C-EE5298F7113F}"/>
              </a:ext>
            </a:extLst>
          </p:cNvPr>
          <p:cNvGraphicFramePr>
            <a:graphicFrameLocks noGrp="1"/>
          </p:cNvGraphicFramePr>
          <p:nvPr>
            <p:extLst>
              <p:ext uri="{D42A27DB-BD31-4B8C-83A1-F6EECF244321}">
                <p14:modId xmlns:p14="http://schemas.microsoft.com/office/powerpoint/2010/main" val="529302271"/>
              </p:ext>
            </p:extLst>
          </p:nvPr>
        </p:nvGraphicFramePr>
        <p:xfrm>
          <a:off x="107504" y="3329508"/>
          <a:ext cx="5433695" cy="1661160"/>
        </p:xfrm>
        <a:graphic>
          <a:graphicData uri="http://schemas.openxmlformats.org/drawingml/2006/table">
            <a:tbl>
              <a:tblPr firstRow="1" firstCol="1" bandRow="1">
                <a:tableStyleId>{5C22544A-7EE6-4342-B048-85BDC9FD1C3A}</a:tableStyleId>
              </a:tblPr>
              <a:tblGrid>
                <a:gridCol w="1014095">
                  <a:extLst>
                    <a:ext uri="{9D8B030D-6E8A-4147-A177-3AD203B41FA5}">
                      <a16:colId xmlns:a16="http://schemas.microsoft.com/office/drawing/2014/main" val="1167165950"/>
                    </a:ext>
                  </a:extLst>
                </a:gridCol>
                <a:gridCol w="952500">
                  <a:extLst>
                    <a:ext uri="{9D8B030D-6E8A-4147-A177-3AD203B41FA5}">
                      <a16:colId xmlns:a16="http://schemas.microsoft.com/office/drawing/2014/main" val="3124738785"/>
                    </a:ext>
                  </a:extLst>
                </a:gridCol>
                <a:gridCol w="711200">
                  <a:extLst>
                    <a:ext uri="{9D8B030D-6E8A-4147-A177-3AD203B41FA5}">
                      <a16:colId xmlns:a16="http://schemas.microsoft.com/office/drawing/2014/main" val="2517497909"/>
                    </a:ext>
                  </a:extLst>
                </a:gridCol>
                <a:gridCol w="2755900">
                  <a:extLst>
                    <a:ext uri="{9D8B030D-6E8A-4147-A177-3AD203B41FA5}">
                      <a16:colId xmlns:a16="http://schemas.microsoft.com/office/drawing/2014/main" val="3786161824"/>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  Related Deliverab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36150203"/>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21814902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88124279"/>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2, D003, D00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03385915"/>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dirty="0">
                          <a:effectLst/>
                        </a:rPr>
                        <a:t>D002, D003, D006</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007801756"/>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QSP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01600158"/>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242646041"/>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dirty="0">
                          <a:effectLst/>
                        </a:rPr>
                        <a:t>D005</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184845033"/>
                  </a:ext>
                </a:extLst>
              </a:tr>
            </a:tbl>
          </a:graphicData>
        </a:graphic>
      </p:graphicFrame>
      <p:pic>
        <p:nvPicPr>
          <p:cNvPr id="3" name="Grafik 2">
            <a:extLst>
              <a:ext uri="{FF2B5EF4-FFF2-40B4-BE49-F238E27FC236}">
                <a16:creationId xmlns:a16="http://schemas.microsoft.com/office/drawing/2014/main" id="{020E0376-0DBE-0588-4663-546D2E0A7FC5}"/>
              </a:ext>
            </a:extLst>
          </p:cNvPr>
          <p:cNvPicPr>
            <a:picLocks noChangeAspect="1"/>
          </p:cNvPicPr>
          <p:nvPr/>
        </p:nvPicPr>
        <p:blipFill>
          <a:blip r:embed="rId2"/>
          <a:stretch>
            <a:fillRect/>
          </a:stretch>
        </p:blipFill>
        <p:spPr>
          <a:xfrm>
            <a:off x="5651222" y="2427734"/>
            <a:ext cx="3385274" cy="1946533"/>
          </a:xfrm>
          <a:prstGeom prst="rect">
            <a:avLst/>
          </a:prstGeom>
        </p:spPr>
      </p:pic>
      <p:sp>
        <p:nvSpPr>
          <p:cNvPr id="9" name="Textfeld 8">
            <a:extLst>
              <a:ext uri="{FF2B5EF4-FFF2-40B4-BE49-F238E27FC236}">
                <a16:creationId xmlns:a16="http://schemas.microsoft.com/office/drawing/2014/main" id="{B4BDAA87-23E0-6BAE-BF25-8F03C5288535}"/>
              </a:ext>
            </a:extLst>
          </p:cNvPr>
          <p:cNvSpPr txBox="1"/>
          <p:nvPr/>
        </p:nvSpPr>
        <p:spPr>
          <a:xfrm>
            <a:off x="6300193" y="3804075"/>
            <a:ext cx="2664296" cy="184666"/>
          </a:xfrm>
          <a:prstGeom prst="rect">
            <a:avLst/>
          </a:prstGeom>
          <a:solidFill>
            <a:schemeClr val="bg1"/>
          </a:solidFill>
        </p:spPr>
        <p:txBody>
          <a:bodyPr wrap="square">
            <a:spAutoFit/>
          </a:bodyPr>
          <a:lstStyle/>
          <a:p>
            <a:r>
              <a:rPr lang="de-DE" sz="600" b="0" i="0" u="none" strike="noStrike" dirty="0" err="1">
                <a:solidFill>
                  <a:srgbClr val="FF0000"/>
                </a:solidFill>
                <a:effectLst/>
                <a:latin typeface="Calibri" panose="020F0502020204030204" pitchFamily="34" charset="0"/>
              </a:rPr>
              <a:t>Effect</a:t>
            </a:r>
            <a:r>
              <a:rPr lang="de-DE" sz="600" b="0" i="0" u="none" strike="noStrike" dirty="0">
                <a:solidFill>
                  <a:srgbClr val="FF0000"/>
                </a:solidFill>
                <a:effectLst/>
                <a:latin typeface="Calibri" panose="020F0502020204030204" pitchFamily="34" charset="0"/>
              </a:rPr>
              <a:t> </a:t>
            </a:r>
            <a:r>
              <a:rPr lang="de-DE" sz="600" b="0" i="0" u="none" strike="noStrike" dirty="0" err="1">
                <a:solidFill>
                  <a:srgbClr val="FF0000"/>
                </a:solidFill>
                <a:effectLst/>
                <a:latin typeface="Calibri" panose="020F0502020204030204" pitchFamily="34" charset="0"/>
              </a:rPr>
              <a:t>of</a:t>
            </a:r>
            <a:r>
              <a:rPr lang="de-DE" sz="600" b="0" i="0" u="none" strike="noStrike" dirty="0">
                <a:solidFill>
                  <a:srgbClr val="FF0000"/>
                </a:solidFill>
                <a:effectLst/>
                <a:latin typeface="Calibri" panose="020F0502020204030204" pitchFamily="34" charset="0"/>
              </a:rPr>
              <a:t> transient </a:t>
            </a:r>
            <a:r>
              <a:rPr lang="de-DE" sz="600" b="0" i="0" u="none" strike="noStrike" dirty="0" err="1">
                <a:solidFill>
                  <a:srgbClr val="FF0000"/>
                </a:solidFill>
                <a:effectLst/>
                <a:latin typeface="Calibri" panose="020F0502020204030204" pitchFamily="34" charset="0"/>
              </a:rPr>
              <a:t>loading</a:t>
            </a:r>
            <a:r>
              <a:rPr lang="de-DE" sz="600" b="0" i="0" u="none" strike="noStrike" dirty="0">
                <a:solidFill>
                  <a:srgbClr val="FF0000"/>
                </a:solidFill>
                <a:effectLst/>
                <a:latin typeface="Calibri" panose="020F0502020204030204" pitchFamily="34" charset="0"/>
              </a:rPr>
              <a:t> on </a:t>
            </a:r>
            <a:r>
              <a:rPr lang="de-DE" sz="600" b="0" i="0" u="none" strike="noStrike" dirty="0" err="1">
                <a:solidFill>
                  <a:srgbClr val="FF0000"/>
                </a:solidFill>
                <a:effectLst/>
                <a:latin typeface="Calibri" panose="020F0502020204030204" pitchFamily="34" charset="0"/>
              </a:rPr>
              <a:t>microstructure</a:t>
            </a:r>
            <a:r>
              <a:rPr lang="de-DE" sz="600" b="0" i="0" u="none" strike="noStrike" dirty="0">
                <a:solidFill>
                  <a:srgbClr val="FF0000"/>
                </a:solidFill>
                <a:effectLst/>
                <a:latin typeface="Calibri" panose="020F0502020204030204" pitchFamily="34" charset="0"/>
              </a:rPr>
              <a:t> </a:t>
            </a:r>
            <a:r>
              <a:rPr lang="de-DE" sz="600" b="0" i="0" u="none" strike="noStrike" dirty="0" err="1">
                <a:solidFill>
                  <a:srgbClr val="FF0000"/>
                </a:solidFill>
                <a:effectLst/>
                <a:latin typeface="Calibri" panose="020F0502020204030204" pitchFamily="34" charset="0"/>
              </a:rPr>
              <a:t>evolution</a:t>
            </a:r>
            <a:r>
              <a:rPr lang="de-DE" sz="600" b="0" i="0" u="none" strike="noStrike" dirty="0">
                <a:solidFill>
                  <a:srgbClr val="FF0000"/>
                </a:solidFill>
                <a:effectLst/>
                <a:latin typeface="Calibri" panose="020F0502020204030204" pitchFamily="34" charset="0"/>
              </a:rPr>
              <a:t> </a:t>
            </a:r>
            <a:r>
              <a:rPr lang="de-DE" sz="600" b="0" i="0" u="none" strike="noStrike" dirty="0" err="1">
                <a:solidFill>
                  <a:srgbClr val="FF0000"/>
                </a:solidFill>
                <a:effectLst/>
                <a:latin typeface="Calibri" panose="020F0502020204030204" pitchFamily="34" charset="0"/>
              </a:rPr>
              <a:t>of</a:t>
            </a:r>
            <a:r>
              <a:rPr lang="de-DE" sz="600" b="0" i="0" u="none" strike="noStrike" dirty="0">
                <a:solidFill>
                  <a:srgbClr val="FF0000"/>
                </a:solidFill>
                <a:effectLst/>
                <a:latin typeface="Calibri" panose="020F0502020204030204" pitchFamily="34" charset="0"/>
              </a:rPr>
              <a:t> RAFM </a:t>
            </a:r>
            <a:r>
              <a:rPr lang="de-DE" sz="600" b="0" i="0" u="none" strike="noStrike" dirty="0" err="1">
                <a:solidFill>
                  <a:srgbClr val="FF0000"/>
                </a:solidFill>
                <a:effectLst/>
                <a:latin typeface="Calibri" panose="020F0502020204030204" pitchFamily="34" charset="0"/>
              </a:rPr>
              <a:t>steels</a:t>
            </a:r>
            <a:r>
              <a:rPr lang="de-DE" sz="600" b="0" i="0" u="none" strike="noStrike" dirty="0">
                <a:solidFill>
                  <a:srgbClr val="FF0000"/>
                </a:solidFill>
                <a:effectLst/>
                <a:latin typeface="Calibri" panose="020F0502020204030204" pitchFamily="34" charset="0"/>
              </a:rPr>
              <a:t> (</a:t>
            </a:r>
            <a:r>
              <a:rPr lang="de-DE" sz="600" b="0" i="0" u="none" strike="noStrike" dirty="0" err="1">
                <a:solidFill>
                  <a:srgbClr val="FF0000"/>
                </a:solidFill>
                <a:effectLst/>
                <a:latin typeface="Calibri" panose="020F0502020204030204" pitchFamily="34" charset="0"/>
              </a:rPr>
              <a:t>Differ</a:t>
            </a:r>
            <a:r>
              <a:rPr lang="de-DE" sz="600" b="0" i="0" u="none" strike="noStrike" dirty="0">
                <a:solidFill>
                  <a:srgbClr val="FF0000"/>
                </a:solidFill>
                <a:effectLst/>
                <a:latin typeface="Calibri" panose="020F0502020204030204" pitchFamily="34" charset="0"/>
              </a:rPr>
              <a:t>)</a:t>
            </a:r>
            <a:endParaRPr lang="en-GB" sz="600" dirty="0">
              <a:solidFill>
                <a:srgbClr val="FF0000"/>
              </a:solidFill>
            </a:endParaRPr>
          </a:p>
        </p:txBody>
      </p:sp>
      <p:sp>
        <p:nvSpPr>
          <p:cNvPr id="11" name="Fußzeilenplatzhalter 3">
            <a:extLst>
              <a:ext uri="{FF2B5EF4-FFF2-40B4-BE49-F238E27FC236}">
                <a16:creationId xmlns:a16="http://schemas.microsoft.com/office/drawing/2014/main" id="{AD9E8685-84CD-0973-F4ED-A4ACACF3E84A}"/>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15</a:t>
            </a:fld>
            <a:endParaRPr lang="en-GB" dirty="0"/>
          </a:p>
        </p:txBody>
      </p:sp>
    </p:spTree>
    <p:extLst>
      <p:ext uri="{BB962C8B-B14F-4D97-AF65-F5344CB8AC3E}">
        <p14:creationId xmlns:p14="http://schemas.microsoft.com/office/powerpoint/2010/main" val="40110541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85F2A6-26AC-4E6D-88E8-E733501D07A8}"/>
              </a:ext>
            </a:extLst>
          </p:cNvPr>
          <p:cNvSpPr>
            <a:spLocks noGrp="1"/>
          </p:cNvSpPr>
          <p:nvPr>
            <p:ph sz="quarter" idx="13"/>
          </p:nvPr>
        </p:nvSpPr>
        <p:spPr>
          <a:xfrm>
            <a:off x="494110" y="1207294"/>
            <a:ext cx="4680599" cy="3632597"/>
          </a:xfrm>
        </p:spPr>
        <p:txBody>
          <a:bodyPr>
            <a:normAutofit/>
          </a:bodyPr>
          <a:lstStyle/>
          <a:p>
            <a:pPr lvl="1"/>
            <a:r>
              <a:rPr lang="en-US" u="sng" dirty="0"/>
              <a:t>G</a:t>
            </a:r>
            <a:r>
              <a:rPr lang="en-US" dirty="0"/>
              <a:t>eneral-purpose </a:t>
            </a:r>
            <a:r>
              <a:rPr lang="en-US" u="sng" dirty="0"/>
              <a:t>ir</a:t>
            </a:r>
            <a:r>
              <a:rPr lang="en-US" dirty="0"/>
              <a:t>r</a:t>
            </a:r>
            <a:r>
              <a:rPr lang="en-US" u="sng" dirty="0"/>
              <a:t>a</a:t>
            </a:r>
            <a:r>
              <a:rPr lang="en-US" dirty="0"/>
              <a:t>diated </a:t>
            </a:r>
            <a:r>
              <a:rPr lang="en-US" u="sng" dirty="0"/>
              <a:t>f</a:t>
            </a:r>
            <a:r>
              <a:rPr lang="en-US" dirty="0"/>
              <a:t>iber and </a:t>
            </a:r>
            <a:r>
              <a:rPr lang="en-US" u="sng" dirty="0"/>
              <a:t>f</a:t>
            </a:r>
            <a:r>
              <a:rPr lang="en-US" dirty="0"/>
              <a:t>oil </a:t>
            </a:r>
            <a:r>
              <a:rPr lang="en-US" u="sng" dirty="0"/>
              <a:t>e</a:t>
            </a:r>
            <a:r>
              <a:rPr lang="en-US" dirty="0"/>
              <a:t>xperiment </a:t>
            </a:r>
          </a:p>
          <a:p>
            <a:endParaRPr lang="de-DE" dirty="0"/>
          </a:p>
          <a:p>
            <a:pPr marL="0" lvl="2" indent="0">
              <a:buNone/>
            </a:pPr>
            <a:r>
              <a:rPr lang="en-US" dirty="0"/>
              <a:t>Dedicated experiment to investigate synergistic effects on materials in a simulated fusion environment</a:t>
            </a:r>
          </a:p>
          <a:p>
            <a:endParaRPr lang="en-US" dirty="0"/>
          </a:p>
          <a:p>
            <a:pPr marL="0" lvl="2" indent="0">
              <a:buNone/>
            </a:pPr>
            <a:r>
              <a:rPr lang="en-US" dirty="0"/>
              <a:t>Possibility of three different loads simultaneously</a:t>
            </a:r>
          </a:p>
          <a:p>
            <a:pPr lvl="3"/>
            <a:r>
              <a:rPr lang="en-US" dirty="0"/>
              <a:t>Mechanical load using a linear piezo motor</a:t>
            </a:r>
          </a:p>
          <a:p>
            <a:pPr lvl="3"/>
            <a:r>
              <a:rPr lang="en-US" dirty="0"/>
              <a:t>Irradiation damage using MeV ions from the tandem accelerator</a:t>
            </a:r>
          </a:p>
          <a:p>
            <a:pPr lvl="3"/>
            <a:r>
              <a:rPr lang="en-US" dirty="0"/>
              <a:t>Deuterium loading via a low energy ion source</a:t>
            </a:r>
          </a:p>
        </p:txBody>
      </p:sp>
      <p:sp>
        <p:nvSpPr>
          <p:cNvPr id="3" name="Fußzeilenplatzhalter 2">
            <a:extLst>
              <a:ext uri="{FF2B5EF4-FFF2-40B4-BE49-F238E27FC236}">
                <a16:creationId xmlns:a16="http://schemas.microsoft.com/office/drawing/2014/main" id="{37B37628-A1E9-4AEB-AFC2-8CC6770485FC}"/>
              </a:ext>
            </a:extLst>
          </p:cNvPr>
          <p:cNvSpPr>
            <a:spLocks noGrp="1"/>
          </p:cNvSpPr>
          <p:nvPr>
            <p:ph type="ftr" sz="quarter" idx="15"/>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81EDC01B-22F6-4A75-9DCD-60592D22870C}"/>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16</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CA5F2FFF-0AD2-4870-A98C-3F28356FFD42}"/>
              </a:ext>
            </a:extLst>
          </p:cNvPr>
          <p:cNvSpPr>
            <a:spLocks noGrp="1"/>
          </p:cNvSpPr>
          <p:nvPr>
            <p:ph type="title"/>
          </p:nvPr>
        </p:nvSpPr>
        <p:spPr/>
        <p:txBody>
          <a:bodyPr/>
          <a:lstStyle/>
          <a:p>
            <a:r>
              <a:rPr lang="en-US" dirty="0"/>
              <a:t>What is the GIRAFFE</a:t>
            </a:r>
          </a:p>
        </p:txBody>
      </p:sp>
      <p:pic>
        <p:nvPicPr>
          <p:cNvPr id="6" name="Grafik 5">
            <a:extLst>
              <a:ext uri="{FF2B5EF4-FFF2-40B4-BE49-F238E27FC236}">
                <a16:creationId xmlns:a16="http://schemas.microsoft.com/office/drawing/2014/main" id="{60FD7AFF-4E3A-4EC8-930F-2BCECFEA0569}"/>
              </a:ext>
            </a:extLst>
          </p:cNvPr>
          <p:cNvPicPr>
            <a:picLocks noChangeAspect="1"/>
          </p:cNvPicPr>
          <p:nvPr/>
        </p:nvPicPr>
        <p:blipFill>
          <a:blip r:embed="rId2"/>
          <a:stretch>
            <a:fillRect/>
          </a:stretch>
        </p:blipFill>
        <p:spPr>
          <a:xfrm>
            <a:off x="5984100" y="1160464"/>
            <a:ext cx="3092083" cy="3177776"/>
          </a:xfrm>
          <a:prstGeom prst="rect">
            <a:avLst/>
          </a:prstGeom>
        </p:spPr>
      </p:pic>
      <p:sp>
        <p:nvSpPr>
          <p:cNvPr id="7" name="Textfeld 6">
            <a:extLst>
              <a:ext uri="{FF2B5EF4-FFF2-40B4-BE49-F238E27FC236}">
                <a16:creationId xmlns:a16="http://schemas.microsoft.com/office/drawing/2014/main" id="{CF282942-2B94-412C-9036-B1EE71E3D1EA}"/>
              </a:ext>
            </a:extLst>
          </p:cNvPr>
          <p:cNvSpPr txBox="1"/>
          <p:nvPr/>
        </p:nvSpPr>
        <p:spPr>
          <a:xfrm>
            <a:off x="5216469" y="1842962"/>
            <a:ext cx="949299"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Rotary </a:t>
            </a:r>
            <a:r>
              <a:rPr lang="de-DE" sz="1050" dirty="0" err="1">
                <a:solidFill>
                  <a:srgbClr val="000000"/>
                </a:solidFill>
                <a:latin typeface="Arial" panose="020B0604020202020204"/>
              </a:rPr>
              <a:t>stage</a:t>
            </a:r>
            <a:endParaRPr lang="de-DE" sz="1050" dirty="0">
              <a:solidFill>
                <a:srgbClr val="000000"/>
              </a:solidFill>
              <a:latin typeface="Arial" panose="020B0604020202020204"/>
            </a:endParaRPr>
          </a:p>
        </p:txBody>
      </p:sp>
      <p:cxnSp>
        <p:nvCxnSpPr>
          <p:cNvPr id="8" name="Gerade Verbindung mit Pfeil 7">
            <a:extLst>
              <a:ext uri="{FF2B5EF4-FFF2-40B4-BE49-F238E27FC236}">
                <a16:creationId xmlns:a16="http://schemas.microsoft.com/office/drawing/2014/main" id="{ACA9AAD4-6C62-47A7-ABE6-65B10E6123CC}"/>
              </a:ext>
            </a:extLst>
          </p:cNvPr>
          <p:cNvCxnSpPr>
            <a:cxnSpLocks/>
            <a:stCxn id="7" idx="3"/>
          </p:cNvCxnSpPr>
          <p:nvPr/>
        </p:nvCxnSpPr>
        <p:spPr>
          <a:xfrm flipV="1">
            <a:off x="6165768" y="1717569"/>
            <a:ext cx="177917" cy="25235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9" name="Textfeld 8">
            <a:extLst>
              <a:ext uri="{FF2B5EF4-FFF2-40B4-BE49-F238E27FC236}">
                <a16:creationId xmlns:a16="http://schemas.microsoft.com/office/drawing/2014/main" id="{6DC3BD9D-8728-49BD-8A52-7594D94FCC38}"/>
              </a:ext>
            </a:extLst>
          </p:cNvPr>
          <p:cNvSpPr txBox="1"/>
          <p:nvPr/>
        </p:nvSpPr>
        <p:spPr>
          <a:xfrm>
            <a:off x="5439288" y="2160827"/>
            <a:ext cx="726481"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Load </a:t>
            </a:r>
            <a:r>
              <a:rPr lang="de-DE" sz="1050" dirty="0" err="1">
                <a:solidFill>
                  <a:srgbClr val="000000"/>
                </a:solidFill>
                <a:latin typeface="Arial" panose="020B0604020202020204"/>
              </a:rPr>
              <a:t>cell</a:t>
            </a:r>
            <a:endParaRPr lang="de-DE" sz="1050" dirty="0">
              <a:solidFill>
                <a:srgbClr val="000000"/>
              </a:solidFill>
              <a:latin typeface="Arial" panose="020B0604020202020204"/>
            </a:endParaRPr>
          </a:p>
        </p:txBody>
      </p:sp>
      <p:sp>
        <p:nvSpPr>
          <p:cNvPr id="10" name="Textfeld 9">
            <a:extLst>
              <a:ext uri="{FF2B5EF4-FFF2-40B4-BE49-F238E27FC236}">
                <a16:creationId xmlns:a16="http://schemas.microsoft.com/office/drawing/2014/main" id="{B8692210-AAC9-4C5E-814B-53E4242CD2D3}"/>
              </a:ext>
            </a:extLst>
          </p:cNvPr>
          <p:cNvSpPr txBox="1"/>
          <p:nvPr/>
        </p:nvSpPr>
        <p:spPr>
          <a:xfrm>
            <a:off x="5522644" y="2476295"/>
            <a:ext cx="643125"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Sample</a:t>
            </a:r>
          </a:p>
        </p:txBody>
      </p:sp>
      <p:sp>
        <p:nvSpPr>
          <p:cNvPr id="11" name="Textfeld 10">
            <a:extLst>
              <a:ext uri="{FF2B5EF4-FFF2-40B4-BE49-F238E27FC236}">
                <a16:creationId xmlns:a16="http://schemas.microsoft.com/office/drawing/2014/main" id="{20922744-A412-4ECE-A92A-85456FC18D7E}"/>
              </a:ext>
            </a:extLst>
          </p:cNvPr>
          <p:cNvSpPr txBox="1"/>
          <p:nvPr/>
        </p:nvSpPr>
        <p:spPr>
          <a:xfrm>
            <a:off x="5221579" y="3422699"/>
            <a:ext cx="949299"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Rotary </a:t>
            </a:r>
            <a:r>
              <a:rPr lang="de-DE" sz="1050" dirty="0" err="1">
                <a:solidFill>
                  <a:srgbClr val="000000"/>
                </a:solidFill>
                <a:latin typeface="Arial" panose="020B0604020202020204"/>
              </a:rPr>
              <a:t>stage</a:t>
            </a:r>
            <a:endParaRPr lang="de-DE" sz="1050" dirty="0">
              <a:solidFill>
                <a:srgbClr val="000000"/>
              </a:solidFill>
              <a:latin typeface="Arial" panose="020B0604020202020204"/>
            </a:endParaRPr>
          </a:p>
        </p:txBody>
      </p:sp>
      <p:sp>
        <p:nvSpPr>
          <p:cNvPr id="12" name="Textfeld 11">
            <a:extLst>
              <a:ext uri="{FF2B5EF4-FFF2-40B4-BE49-F238E27FC236}">
                <a16:creationId xmlns:a16="http://schemas.microsoft.com/office/drawing/2014/main" id="{52C1EAC6-BD9D-40A7-9F16-29B9849EA3B8}"/>
              </a:ext>
            </a:extLst>
          </p:cNvPr>
          <p:cNvSpPr txBox="1"/>
          <p:nvPr/>
        </p:nvSpPr>
        <p:spPr>
          <a:xfrm>
            <a:off x="5085323" y="3107231"/>
            <a:ext cx="1085555"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Linear </a:t>
            </a:r>
            <a:r>
              <a:rPr lang="de-DE" sz="1050" dirty="0" err="1">
                <a:solidFill>
                  <a:srgbClr val="000000"/>
                </a:solidFill>
                <a:latin typeface="Arial" panose="020B0604020202020204"/>
              </a:rPr>
              <a:t>actuator</a:t>
            </a:r>
            <a:endParaRPr lang="de-DE" sz="1050" dirty="0">
              <a:solidFill>
                <a:srgbClr val="000000"/>
              </a:solidFill>
              <a:latin typeface="Arial" panose="020B0604020202020204"/>
            </a:endParaRPr>
          </a:p>
        </p:txBody>
      </p:sp>
      <p:cxnSp>
        <p:nvCxnSpPr>
          <p:cNvPr id="14" name="Gerade Verbindung mit Pfeil 13">
            <a:extLst>
              <a:ext uri="{FF2B5EF4-FFF2-40B4-BE49-F238E27FC236}">
                <a16:creationId xmlns:a16="http://schemas.microsoft.com/office/drawing/2014/main" id="{F5A86743-BF41-4654-A83A-83E1FD66F398}"/>
              </a:ext>
            </a:extLst>
          </p:cNvPr>
          <p:cNvCxnSpPr>
            <a:cxnSpLocks/>
            <a:stCxn id="9" idx="3"/>
          </p:cNvCxnSpPr>
          <p:nvPr/>
        </p:nvCxnSpPr>
        <p:spPr>
          <a:xfrm flipV="1">
            <a:off x="6165769" y="2048098"/>
            <a:ext cx="541089" cy="239687"/>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5" name="Gerade Verbindung mit Pfeil 14">
            <a:extLst>
              <a:ext uri="{FF2B5EF4-FFF2-40B4-BE49-F238E27FC236}">
                <a16:creationId xmlns:a16="http://schemas.microsoft.com/office/drawing/2014/main" id="{BBE4AD27-0317-4CCC-938D-0DD5B4523600}"/>
              </a:ext>
            </a:extLst>
          </p:cNvPr>
          <p:cNvCxnSpPr>
            <a:cxnSpLocks/>
            <a:stCxn id="10" idx="3"/>
          </p:cNvCxnSpPr>
          <p:nvPr/>
        </p:nvCxnSpPr>
        <p:spPr>
          <a:xfrm>
            <a:off x="6165769" y="2603253"/>
            <a:ext cx="631474" cy="11770"/>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7" name="Gerade Verbindung mit Pfeil 16">
            <a:extLst>
              <a:ext uri="{FF2B5EF4-FFF2-40B4-BE49-F238E27FC236}">
                <a16:creationId xmlns:a16="http://schemas.microsoft.com/office/drawing/2014/main" id="{1F704F60-AD0E-4CF0-B449-3DBFC0D8EDFB}"/>
              </a:ext>
            </a:extLst>
          </p:cNvPr>
          <p:cNvCxnSpPr>
            <a:cxnSpLocks/>
            <a:stCxn id="12" idx="3"/>
          </p:cNvCxnSpPr>
          <p:nvPr/>
        </p:nvCxnSpPr>
        <p:spPr>
          <a:xfrm>
            <a:off x="6170878" y="3234189"/>
            <a:ext cx="596757" cy="302811"/>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8" name="Gerade Verbindung mit Pfeil 17">
            <a:extLst>
              <a:ext uri="{FF2B5EF4-FFF2-40B4-BE49-F238E27FC236}">
                <a16:creationId xmlns:a16="http://schemas.microsoft.com/office/drawing/2014/main" id="{61419F77-AAB2-49AF-8FF0-CBB05ADFF8DF}"/>
              </a:ext>
            </a:extLst>
          </p:cNvPr>
          <p:cNvCxnSpPr>
            <a:cxnSpLocks/>
            <a:stCxn id="11" idx="3"/>
          </p:cNvCxnSpPr>
          <p:nvPr/>
        </p:nvCxnSpPr>
        <p:spPr>
          <a:xfrm>
            <a:off x="6170878" y="3549657"/>
            <a:ext cx="172807" cy="26530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9" name="Fußzeilenplatzhalter 3">
            <a:extLst>
              <a:ext uri="{FF2B5EF4-FFF2-40B4-BE49-F238E27FC236}">
                <a16:creationId xmlns:a16="http://schemas.microsoft.com/office/drawing/2014/main" id="{6526B767-3E95-4306-A283-7846B889E691}"/>
              </a:ext>
            </a:extLst>
          </p:cNvPr>
          <p:cNvSpPr txBox="1">
            <a:spLocks/>
          </p:cNvSpPr>
          <p:nvPr/>
        </p:nvSpPr>
        <p:spPr>
          <a:xfrm>
            <a:off x="6061184" y="4218192"/>
            <a:ext cx="979040" cy="80404"/>
          </a:xfrm>
          <a:prstGeom prst="rect">
            <a:avLst/>
          </a:prstGeom>
        </p:spPr>
        <p:txBody>
          <a:bodyPr vert="horz" wrap="none" lIns="0" tIns="0" rIns="0" bIns="0" rtlCol="0" anchor="b" anchorCtr="0"/>
          <a:lstStyle>
            <a:defPPr>
              <a:defRPr lang="en-US"/>
            </a:defPPr>
            <a:lvl1pPr marL="0" algn="l" defTabSz="457200" rtl="0" eaLnBrk="1" latinLnBrk="0" hangingPunct="1">
              <a:defRPr lang="de-DE"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342900"/>
            <a:r>
              <a:rPr lang="en-US" sz="450" spc="68" dirty="0">
                <a:solidFill>
                  <a:srgbClr val="000000">
                    <a:tint val="75000"/>
                  </a:srgbClr>
                </a:solidFill>
                <a:latin typeface="Arial" panose="020B0604020202020204"/>
              </a:rPr>
              <a:t>Bailey Curzadd | IPP</a:t>
            </a:r>
          </a:p>
        </p:txBody>
      </p:sp>
    </p:spTree>
    <p:extLst>
      <p:ext uri="{BB962C8B-B14F-4D97-AF65-F5344CB8AC3E}">
        <p14:creationId xmlns:p14="http://schemas.microsoft.com/office/powerpoint/2010/main" val="1307738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85F2A6-26AC-4E6D-88E8-E733501D07A8}"/>
              </a:ext>
            </a:extLst>
          </p:cNvPr>
          <p:cNvSpPr>
            <a:spLocks noGrp="1"/>
          </p:cNvSpPr>
          <p:nvPr>
            <p:ph sz="quarter" idx="13"/>
          </p:nvPr>
        </p:nvSpPr>
        <p:spPr>
          <a:xfrm>
            <a:off x="494110" y="1207295"/>
            <a:ext cx="4672251" cy="3612181"/>
          </a:xfrm>
        </p:spPr>
        <p:txBody>
          <a:bodyPr>
            <a:normAutofit/>
          </a:bodyPr>
          <a:lstStyle/>
          <a:p>
            <a:pPr lvl="1"/>
            <a:r>
              <a:rPr lang="en-US" u="sng" dirty="0"/>
              <a:t>G</a:t>
            </a:r>
            <a:r>
              <a:rPr lang="en-US" dirty="0"/>
              <a:t>eneral-purpose </a:t>
            </a:r>
            <a:r>
              <a:rPr lang="en-US" u="sng" dirty="0"/>
              <a:t>ir</a:t>
            </a:r>
            <a:r>
              <a:rPr lang="en-US" dirty="0"/>
              <a:t>r</a:t>
            </a:r>
            <a:r>
              <a:rPr lang="en-US" u="sng" dirty="0"/>
              <a:t>a</a:t>
            </a:r>
            <a:r>
              <a:rPr lang="en-US" dirty="0"/>
              <a:t>diated </a:t>
            </a:r>
            <a:r>
              <a:rPr lang="en-US" u="sng" dirty="0"/>
              <a:t>f</a:t>
            </a:r>
            <a:r>
              <a:rPr lang="en-US" dirty="0"/>
              <a:t>iber and </a:t>
            </a:r>
            <a:r>
              <a:rPr lang="en-US" u="sng" dirty="0"/>
              <a:t>f</a:t>
            </a:r>
            <a:r>
              <a:rPr lang="en-US" dirty="0"/>
              <a:t>oil </a:t>
            </a:r>
            <a:r>
              <a:rPr lang="en-US" u="sng" dirty="0"/>
              <a:t>e</a:t>
            </a:r>
            <a:r>
              <a:rPr lang="en-US" dirty="0"/>
              <a:t>xperiment </a:t>
            </a:r>
          </a:p>
          <a:p>
            <a:pPr marL="0" lvl="2" indent="0">
              <a:buNone/>
            </a:pPr>
            <a:endParaRPr lang="en-US" dirty="0"/>
          </a:p>
          <a:p>
            <a:pPr marL="0" lvl="2" indent="0">
              <a:buNone/>
            </a:pPr>
            <a:r>
              <a:rPr lang="en-US" dirty="0"/>
              <a:t>Dedicated experiment to investigate synergistic effects on materials in a simulated fusion environment</a:t>
            </a:r>
          </a:p>
          <a:p>
            <a:pPr marL="0" lvl="2" indent="0">
              <a:buNone/>
            </a:pPr>
            <a:endParaRPr lang="en-US" dirty="0"/>
          </a:p>
          <a:p>
            <a:pPr marL="0" lvl="2" indent="0">
              <a:buNone/>
            </a:pPr>
            <a:r>
              <a:rPr lang="en-US" dirty="0"/>
              <a:t>Possibility of three different loads simultaneously</a:t>
            </a:r>
          </a:p>
          <a:p>
            <a:pPr lvl="3"/>
            <a:r>
              <a:rPr lang="en-US" dirty="0"/>
              <a:t>Mechanical load using a linear piezo motor</a:t>
            </a:r>
          </a:p>
          <a:p>
            <a:pPr lvl="3"/>
            <a:r>
              <a:rPr lang="en-US" dirty="0"/>
              <a:t>Irradiation damage using MeV ions from the tandem accelerator</a:t>
            </a:r>
          </a:p>
          <a:p>
            <a:pPr lvl="3"/>
            <a:r>
              <a:rPr lang="en-US" dirty="0"/>
              <a:t>Deuterium loading via a low energy ion source</a:t>
            </a:r>
          </a:p>
          <a:p>
            <a:pPr lvl="3"/>
            <a:endParaRPr lang="de-DE" dirty="0"/>
          </a:p>
          <a:p>
            <a:pPr marL="0" lvl="2" indent="0">
              <a:buNone/>
            </a:pPr>
            <a:r>
              <a:rPr lang="de-DE" dirty="0"/>
              <a:t> </a:t>
            </a:r>
            <a:endParaRPr lang="en-US" dirty="0"/>
          </a:p>
        </p:txBody>
      </p:sp>
      <p:sp>
        <p:nvSpPr>
          <p:cNvPr id="3" name="Fußzeilenplatzhalter 2">
            <a:extLst>
              <a:ext uri="{FF2B5EF4-FFF2-40B4-BE49-F238E27FC236}">
                <a16:creationId xmlns:a16="http://schemas.microsoft.com/office/drawing/2014/main" id="{37B37628-A1E9-4AEB-AFC2-8CC6770485FC}"/>
              </a:ext>
            </a:extLst>
          </p:cNvPr>
          <p:cNvSpPr>
            <a:spLocks noGrp="1"/>
          </p:cNvSpPr>
          <p:nvPr>
            <p:ph type="ftr" sz="quarter" idx="15"/>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81EDC01B-22F6-4A75-9DCD-60592D22870C}"/>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17</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CA5F2FFF-0AD2-4870-A98C-3F28356FFD42}"/>
              </a:ext>
            </a:extLst>
          </p:cNvPr>
          <p:cNvSpPr>
            <a:spLocks noGrp="1"/>
          </p:cNvSpPr>
          <p:nvPr>
            <p:ph type="title"/>
          </p:nvPr>
        </p:nvSpPr>
        <p:spPr/>
        <p:txBody>
          <a:bodyPr/>
          <a:lstStyle/>
          <a:p>
            <a:r>
              <a:rPr lang="en-US" dirty="0"/>
              <a:t>What is the GIRAFFE</a:t>
            </a:r>
          </a:p>
        </p:txBody>
      </p:sp>
      <p:pic>
        <p:nvPicPr>
          <p:cNvPr id="19" name="Grafik 18">
            <a:extLst>
              <a:ext uri="{FF2B5EF4-FFF2-40B4-BE49-F238E27FC236}">
                <a16:creationId xmlns:a16="http://schemas.microsoft.com/office/drawing/2014/main" id="{5FAA8420-BE1C-45CB-B376-BBC448ADEA9E}"/>
              </a:ext>
            </a:extLst>
          </p:cNvPr>
          <p:cNvPicPr>
            <a:picLocks noChangeAspect="1"/>
          </p:cNvPicPr>
          <p:nvPr/>
        </p:nvPicPr>
        <p:blipFill>
          <a:blip r:embed="rId2"/>
          <a:stretch>
            <a:fillRect/>
          </a:stretch>
        </p:blipFill>
        <p:spPr>
          <a:xfrm rot="5400000">
            <a:off x="5901744" y="1482992"/>
            <a:ext cx="3672409" cy="2448272"/>
          </a:xfrm>
          <a:prstGeom prst="rect">
            <a:avLst/>
          </a:prstGeom>
        </p:spPr>
      </p:pic>
      <p:sp>
        <p:nvSpPr>
          <p:cNvPr id="20" name="Textfeld 19">
            <a:extLst>
              <a:ext uri="{FF2B5EF4-FFF2-40B4-BE49-F238E27FC236}">
                <a16:creationId xmlns:a16="http://schemas.microsoft.com/office/drawing/2014/main" id="{8CD9D1D1-04B0-43A9-852A-9490CDDC2640}"/>
              </a:ext>
            </a:extLst>
          </p:cNvPr>
          <p:cNvSpPr txBox="1"/>
          <p:nvPr/>
        </p:nvSpPr>
        <p:spPr>
          <a:xfrm>
            <a:off x="5216469" y="1842962"/>
            <a:ext cx="949299"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Rotary </a:t>
            </a:r>
            <a:r>
              <a:rPr lang="de-DE" sz="1050" dirty="0" err="1">
                <a:solidFill>
                  <a:srgbClr val="000000"/>
                </a:solidFill>
                <a:latin typeface="Arial" panose="020B0604020202020204"/>
              </a:rPr>
              <a:t>stage</a:t>
            </a:r>
            <a:endParaRPr lang="de-DE" sz="1050" dirty="0">
              <a:solidFill>
                <a:srgbClr val="000000"/>
              </a:solidFill>
              <a:latin typeface="Arial" panose="020B0604020202020204"/>
            </a:endParaRPr>
          </a:p>
        </p:txBody>
      </p:sp>
      <p:cxnSp>
        <p:nvCxnSpPr>
          <p:cNvPr id="21" name="Gerade Verbindung mit Pfeil 20">
            <a:extLst>
              <a:ext uri="{FF2B5EF4-FFF2-40B4-BE49-F238E27FC236}">
                <a16:creationId xmlns:a16="http://schemas.microsoft.com/office/drawing/2014/main" id="{9D69F4F4-6D5C-455B-8E24-7A98F5BAA8B0}"/>
              </a:ext>
            </a:extLst>
          </p:cNvPr>
          <p:cNvCxnSpPr>
            <a:cxnSpLocks/>
            <a:stCxn id="20" idx="3"/>
          </p:cNvCxnSpPr>
          <p:nvPr/>
        </p:nvCxnSpPr>
        <p:spPr>
          <a:xfrm flipV="1">
            <a:off x="6165768" y="1440472"/>
            <a:ext cx="1061145" cy="52944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22" name="Textfeld 21">
            <a:extLst>
              <a:ext uri="{FF2B5EF4-FFF2-40B4-BE49-F238E27FC236}">
                <a16:creationId xmlns:a16="http://schemas.microsoft.com/office/drawing/2014/main" id="{FDF1C18B-8CBF-4A3D-ABAB-9ABDFE1643DD}"/>
              </a:ext>
            </a:extLst>
          </p:cNvPr>
          <p:cNvSpPr txBox="1"/>
          <p:nvPr/>
        </p:nvSpPr>
        <p:spPr>
          <a:xfrm>
            <a:off x="5439288" y="2160827"/>
            <a:ext cx="726481"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Load </a:t>
            </a:r>
            <a:r>
              <a:rPr lang="de-DE" sz="1050" dirty="0" err="1">
                <a:solidFill>
                  <a:srgbClr val="000000"/>
                </a:solidFill>
                <a:latin typeface="Arial" panose="020B0604020202020204"/>
              </a:rPr>
              <a:t>cell</a:t>
            </a:r>
            <a:endParaRPr lang="de-DE" sz="1050" dirty="0">
              <a:solidFill>
                <a:srgbClr val="000000"/>
              </a:solidFill>
              <a:latin typeface="Arial" panose="020B0604020202020204"/>
            </a:endParaRPr>
          </a:p>
        </p:txBody>
      </p:sp>
      <p:sp>
        <p:nvSpPr>
          <p:cNvPr id="23" name="Textfeld 22">
            <a:extLst>
              <a:ext uri="{FF2B5EF4-FFF2-40B4-BE49-F238E27FC236}">
                <a16:creationId xmlns:a16="http://schemas.microsoft.com/office/drawing/2014/main" id="{C83EE7A0-BCF2-4D07-A5AD-FFAD34525E19}"/>
              </a:ext>
            </a:extLst>
          </p:cNvPr>
          <p:cNvSpPr txBox="1"/>
          <p:nvPr/>
        </p:nvSpPr>
        <p:spPr>
          <a:xfrm>
            <a:off x="5522644" y="2476295"/>
            <a:ext cx="643125"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Sample</a:t>
            </a:r>
          </a:p>
        </p:txBody>
      </p:sp>
      <p:sp>
        <p:nvSpPr>
          <p:cNvPr id="24" name="Textfeld 23">
            <a:extLst>
              <a:ext uri="{FF2B5EF4-FFF2-40B4-BE49-F238E27FC236}">
                <a16:creationId xmlns:a16="http://schemas.microsoft.com/office/drawing/2014/main" id="{AAE93825-0A32-4A49-A234-488A2FA08DD9}"/>
              </a:ext>
            </a:extLst>
          </p:cNvPr>
          <p:cNvSpPr txBox="1"/>
          <p:nvPr/>
        </p:nvSpPr>
        <p:spPr>
          <a:xfrm>
            <a:off x="5221579" y="3422699"/>
            <a:ext cx="949299"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Rotary </a:t>
            </a:r>
            <a:r>
              <a:rPr lang="de-DE" sz="1050" dirty="0" err="1">
                <a:solidFill>
                  <a:srgbClr val="000000"/>
                </a:solidFill>
                <a:latin typeface="Arial" panose="020B0604020202020204"/>
              </a:rPr>
              <a:t>stage</a:t>
            </a:r>
            <a:endParaRPr lang="de-DE" sz="1050" dirty="0">
              <a:solidFill>
                <a:srgbClr val="000000"/>
              </a:solidFill>
              <a:latin typeface="Arial" panose="020B0604020202020204"/>
            </a:endParaRPr>
          </a:p>
        </p:txBody>
      </p:sp>
      <p:sp>
        <p:nvSpPr>
          <p:cNvPr id="25" name="Textfeld 24">
            <a:extLst>
              <a:ext uri="{FF2B5EF4-FFF2-40B4-BE49-F238E27FC236}">
                <a16:creationId xmlns:a16="http://schemas.microsoft.com/office/drawing/2014/main" id="{888128D6-4BB5-4A74-A256-B01B4B99669F}"/>
              </a:ext>
            </a:extLst>
          </p:cNvPr>
          <p:cNvSpPr txBox="1"/>
          <p:nvPr/>
        </p:nvSpPr>
        <p:spPr>
          <a:xfrm>
            <a:off x="5085323" y="3107231"/>
            <a:ext cx="1085555" cy="253916"/>
          </a:xfrm>
          <a:prstGeom prst="rect">
            <a:avLst/>
          </a:prstGeom>
          <a:noFill/>
        </p:spPr>
        <p:txBody>
          <a:bodyPr wrap="none" rtlCol="0">
            <a:spAutoFit/>
          </a:bodyPr>
          <a:lstStyle/>
          <a:p>
            <a:pPr algn="r" defTabSz="342900"/>
            <a:r>
              <a:rPr lang="de-DE" sz="1050" dirty="0">
                <a:solidFill>
                  <a:srgbClr val="000000"/>
                </a:solidFill>
                <a:latin typeface="Arial" panose="020B0604020202020204"/>
              </a:rPr>
              <a:t>Linear </a:t>
            </a:r>
            <a:r>
              <a:rPr lang="de-DE" sz="1050" dirty="0" err="1">
                <a:solidFill>
                  <a:srgbClr val="000000"/>
                </a:solidFill>
                <a:latin typeface="Arial" panose="020B0604020202020204"/>
              </a:rPr>
              <a:t>actuator</a:t>
            </a:r>
            <a:endParaRPr lang="de-DE" sz="1050" dirty="0">
              <a:solidFill>
                <a:srgbClr val="000000"/>
              </a:solidFill>
              <a:latin typeface="Arial" panose="020B0604020202020204"/>
            </a:endParaRPr>
          </a:p>
        </p:txBody>
      </p:sp>
      <p:cxnSp>
        <p:nvCxnSpPr>
          <p:cNvPr id="27" name="Gerade Verbindung mit Pfeil 26">
            <a:extLst>
              <a:ext uri="{FF2B5EF4-FFF2-40B4-BE49-F238E27FC236}">
                <a16:creationId xmlns:a16="http://schemas.microsoft.com/office/drawing/2014/main" id="{14FA3691-15ED-49C4-9A1E-0BD9245A8F0F}"/>
              </a:ext>
            </a:extLst>
          </p:cNvPr>
          <p:cNvCxnSpPr>
            <a:cxnSpLocks/>
            <a:stCxn id="22" idx="3"/>
          </p:cNvCxnSpPr>
          <p:nvPr/>
        </p:nvCxnSpPr>
        <p:spPr>
          <a:xfrm flipV="1">
            <a:off x="6165769" y="1932676"/>
            <a:ext cx="1486054" cy="35510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28" name="Gerade Verbindung mit Pfeil 27">
            <a:extLst>
              <a:ext uri="{FF2B5EF4-FFF2-40B4-BE49-F238E27FC236}">
                <a16:creationId xmlns:a16="http://schemas.microsoft.com/office/drawing/2014/main" id="{2D2AC856-11BA-43AB-AB95-1017779E538E}"/>
              </a:ext>
            </a:extLst>
          </p:cNvPr>
          <p:cNvCxnSpPr>
            <a:cxnSpLocks/>
            <a:stCxn id="23" idx="3"/>
          </p:cNvCxnSpPr>
          <p:nvPr/>
        </p:nvCxnSpPr>
        <p:spPr>
          <a:xfrm>
            <a:off x="6165769" y="2603253"/>
            <a:ext cx="1486054" cy="148588"/>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0" name="Gerade Verbindung mit Pfeil 29">
            <a:extLst>
              <a:ext uri="{FF2B5EF4-FFF2-40B4-BE49-F238E27FC236}">
                <a16:creationId xmlns:a16="http://schemas.microsoft.com/office/drawing/2014/main" id="{A50BB512-8573-48A9-A9DE-6473C49CFF94}"/>
              </a:ext>
            </a:extLst>
          </p:cNvPr>
          <p:cNvCxnSpPr>
            <a:cxnSpLocks/>
            <a:stCxn id="25" idx="3"/>
          </p:cNvCxnSpPr>
          <p:nvPr/>
        </p:nvCxnSpPr>
        <p:spPr>
          <a:xfrm>
            <a:off x="6170878" y="3234189"/>
            <a:ext cx="1532970" cy="10387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31" name="Gerade Verbindung mit Pfeil 30">
            <a:extLst>
              <a:ext uri="{FF2B5EF4-FFF2-40B4-BE49-F238E27FC236}">
                <a16:creationId xmlns:a16="http://schemas.microsoft.com/office/drawing/2014/main" id="{C8C32B88-5411-4329-B336-7A1084661195}"/>
              </a:ext>
            </a:extLst>
          </p:cNvPr>
          <p:cNvCxnSpPr>
            <a:cxnSpLocks/>
            <a:stCxn id="24" idx="3"/>
          </p:cNvCxnSpPr>
          <p:nvPr/>
        </p:nvCxnSpPr>
        <p:spPr>
          <a:xfrm>
            <a:off x="6170878" y="3549657"/>
            <a:ext cx="1056035" cy="103875"/>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7" name="Fußzeilenplatzhalter 3">
            <a:extLst>
              <a:ext uri="{FF2B5EF4-FFF2-40B4-BE49-F238E27FC236}">
                <a16:creationId xmlns:a16="http://schemas.microsoft.com/office/drawing/2014/main" id="{EC82F99B-7D02-4283-9F2E-182F2659C2FB}"/>
              </a:ext>
            </a:extLst>
          </p:cNvPr>
          <p:cNvSpPr txBox="1">
            <a:spLocks/>
          </p:cNvSpPr>
          <p:nvPr/>
        </p:nvSpPr>
        <p:spPr>
          <a:xfrm>
            <a:off x="6513812" y="4540718"/>
            <a:ext cx="979040" cy="80404"/>
          </a:xfrm>
          <a:prstGeom prst="rect">
            <a:avLst/>
          </a:prstGeom>
        </p:spPr>
        <p:txBody>
          <a:bodyPr vert="horz" wrap="none" lIns="0" tIns="0" rIns="0" bIns="0" rtlCol="0" anchor="b" anchorCtr="0"/>
          <a:lstStyle>
            <a:defPPr>
              <a:defRPr lang="en-US"/>
            </a:defPPr>
            <a:lvl1pPr marL="0" algn="l" defTabSz="457200" rtl="0" eaLnBrk="1" latinLnBrk="0" hangingPunct="1">
              <a:defRPr lang="de-DE"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342900"/>
            <a:r>
              <a:rPr lang="en-US" sz="450" spc="68" dirty="0">
                <a:solidFill>
                  <a:srgbClr val="000000">
                    <a:tint val="75000"/>
                  </a:srgbClr>
                </a:solidFill>
                <a:latin typeface="Arial" panose="020B0604020202020204"/>
              </a:rPr>
              <a:t>Robert Lürbke | IPP</a:t>
            </a:r>
          </a:p>
        </p:txBody>
      </p:sp>
    </p:spTree>
    <p:extLst>
      <p:ext uri="{BB962C8B-B14F-4D97-AF65-F5344CB8AC3E}">
        <p14:creationId xmlns:p14="http://schemas.microsoft.com/office/powerpoint/2010/main" val="19172319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85F2A6-26AC-4E6D-88E8-E733501D07A8}"/>
              </a:ext>
            </a:extLst>
          </p:cNvPr>
          <p:cNvSpPr>
            <a:spLocks noGrp="1"/>
          </p:cNvSpPr>
          <p:nvPr>
            <p:ph sz="quarter" idx="13"/>
          </p:nvPr>
        </p:nvSpPr>
        <p:spPr>
          <a:xfrm>
            <a:off x="494110" y="1207295"/>
            <a:ext cx="4655868" cy="3612181"/>
          </a:xfrm>
        </p:spPr>
        <p:txBody>
          <a:bodyPr>
            <a:normAutofit/>
          </a:bodyPr>
          <a:lstStyle/>
          <a:p>
            <a:pPr lvl="1"/>
            <a:r>
              <a:rPr lang="en-US" u="sng" dirty="0"/>
              <a:t>G</a:t>
            </a:r>
            <a:r>
              <a:rPr lang="en-US" dirty="0"/>
              <a:t>eneral-purpose </a:t>
            </a:r>
            <a:r>
              <a:rPr lang="en-US" u="sng" dirty="0"/>
              <a:t>ir</a:t>
            </a:r>
            <a:r>
              <a:rPr lang="en-US" dirty="0"/>
              <a:t>r</a:t>
            </a:r>
            <a:r>
              <a:rPr lang="en-US" u="sng" dirty="0"/>
              <a:t>a</a:t>
            </a:r>
            <a:r>
              <a:rPr lang="en-US" dirty="0"/>
              <a:t>diated </a:t>
            </a:r>
            <a:r>
              <a:rPr lang="en-US" u="sng" dirty="0"/>
              <a:t>f</a:t>
            </a:r>
            <a:r>
              <a:rPr lang="en-US" dirty="0"/>
              <a:t>iber and </a:t>
            </a:r>
            <a:r>
              <a:rPr lang="en-US" u="sng" dirty="0"/>
              <a:t>f</a:t>
            </a:r>
            <a:r>
              <a:rPr lang="en-US" dirty="0"/>
              <a:t>oil </a:t>
            </a:r>
            <a:r>
              <a:rPr lang="en-US" u="sng" dirty="0"/>
              <a:t>e</a:t>
            </a:r>
            <a:r>
              <a:rPr lang="en-US" dirty="0"/>
              <a:t>xperiment </a:t>
            </a:r>
          </a:p>
          <a:p>
            <a:pPr marL="0" lvl="2" indent="0">
              <a:buNone/>
            </a:pPr>
            <a:endParaRPr lang="en-US" dirty="0"/>
          </a:p>
          <a:p>
            <a:pPr marL="0" lvl="2" indent="0">
              <a:buNone/>
            </a:pPr>
            <a:r>
              <a:rPr lang="en-US" dirty="0"/>
              <a:t>Dedicated experiment to investigate synergistic effects on materials in a simulated fusion environment</a:t>
            </a:r>
          </a:p>
          <a:p>
            <a:pPr marL="0" lvl="2" indent="0">
              <a:buNone/>
            </a:pPr>
            <a:endParaRPr lang="en-US" dirty="0"/>
          </a:p>
          <a:p>
            <a:pPr marL="0" lvl="2" indent="0">
              <a:buNone/>
            </a:pPr>
            <a:r>
              <a:rPr lang="en-US" dirty="0"/>
              <a:t>Possibility of three different loads simultaneously</a:t>
            </a:r>
          </a:p>
          <a:p>
            <a:pPr lvl="3"/>
            <a:r>
              <a:rPr lang="en-US" dirty="0"/>
              <a:t>Mechanical load using a linear piezo motor</a:t>
            </a:r>
          </a:p>
          <a:p>
            <a:pPr lvl="3"/>
            <a:r>
              <a:rPr lang="en-US" dirty="0"/>
              <a:t>Irradiation damage using MeV ions from the tandem accelerator</a:t>
            </a:r>
          </a:p>
          <a:p>
            <a:pPr lvl="3"/>
            <a:r>
              <a:rPr lang="en-US" dirty="0"/>
              <a:t>Deuterium loading via a low energy ion source</a:t>
            </a:r>
          </a:p>
          <a:p>
            <a:pPr lvl="3"/>
            <a:endParaRPr lang="de-DE" dirty="0"/>
          </a:p>
          <a:p>
            <a:pPr marL="0" lvl="2" indent="0">
              <a:buNone/>
            </a:pPr>
            <a:r>
              <a:rPr lang="en-US" dirty="0"/>
              <a:t>Installed in a UHV vessel at the accelerator laboratory</a:t>
            </a:r>
          </a:p>
        </p:txBody>
      </p:sp>
      <p:sp>
        <p:nvSpPr>
          <p:cNvPr id="3" name="Fußzeilenplatzhalter 2">
            <a:extLst>
              <a:ext uri="{FF2B5EF4-FFF2-40B4-BE49-F238E27FC236}">
                <a16:creationId xmlns:a16="http://schemas.microsoft.com/office/drawing/2014/main" id="{37B37628-A1E9-4AEB-AFC2-8CC6770485FC}"/>
              </a:ext>
            </a:extLst>
          </p:cNvPr>
          <p:cNvSpPr>
            <a:spLocks noGrp="1"/>
          </p:cNvSpPr>
          <p:nvPr>
            <p:ph type="ftr" sz="quarter" idx="15"/>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81EDC01B-22F6-4A75-9DCD-60592D22870C}"/>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18</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CA5F2FFF-0AD2-4870-A98C-3F28356FFD42}"/>
              </a:ext>
            </a:extLst>
          </p:cNvPr>
          <p:cNvSpPr>
            <a:spLocks noGrp="1"/>
          </p:cNvSpPr>
          <p:nvPr>
            <p:ph type="title"/>
          </p:nvPr>
        </p:nvSpPr>
        <p:spPr/>
        <p:txBody>
          <a:bodyPr/>
          <a:lstStyle/>
          <a:p>
            <a:r>
              <a:rPr lang="en-US" dirty="0"/>
              <a:t>What is the GIRAFFE</a:t>
            </a:r>
          </a:p>
        </p:txBody>
      </p:sp>
      <p:pic>
        <p:nvPicPr>
          <p:cNvPr id="18" name="Grafik 17">
            <a:extLst>
              <a:ext uri="{FF2B5EF4-FFF2-40B4-BE49-F238E27FC236}">
                <a16:creationId xmlns:a16="http://schemas.microsoft.com/office/drawing/2014/main" id="{4CCC7616-C9BF-4CAB-8B37-3B582E506D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59603" y="701485"/>
            <a:ext cx="2142767" cy="4111022"/>
          </a:xfrm>
          <a:prstGeom prst="rect">
            <a:avLst/>
          </a:prstGeom>
        </p:spPr>
      </p:pic>
      <p:sp>
        <p:nvSpPr>
          <p:cNvPr id="26" name="Textfeld 25">
            <a:extLst>
              <a:ext uri="{FF2B5EF4-FFF2-40B4-BE49-F238E27FC236}">
                <a16:creationId xmlns:a16="http://schemas.microsoft.com/office/drawing/2014/main" id="{17357657-8947-4973-AC70-1BF4587793C4}"/>
              </a:ext>
            </a:extLst>
          </p:cNvPr>
          <p:cNvSpPr txBox="1"/>
          <p:nvPr/>
        </p:nvSpPr>
        <p:spPr>
          <a:xfrm>
            <a:off x="5072088" y="2756995"/>
            <a:ext cx="721592" cy="415498"/>
          </a:xfrm>
          <a:prstGeom prst="rect">
            <a:avLst/>
          </a:prstGeom>
          <a:noFill/>
        </p:spPr>
        <p:txBody>
          <a:bodyPr wrap="square" rtlCol="0">
            <a:spAutoFit/>
          </a:bodyPr>
          <a:lstStyle/>
          <a:p>
            <a:pPr algn="r" defTabSz="342900"/>
            <a:r>
              <a:rPr lang="de-DE" sz="1050" dirty="0">
                <a:solidFill>
                  <a:srgbClr val="000000"/>
                </a:solidFill>
                <a:latin typeface="Arial" panose="020B0604020202020204"/>
              </a:rPr>
              <a:t>GIRAFFE</a:t>
            </a:r>
          </a:p>
        </p:txBody>
      </p:sp>
      <p:cxnSp>
        <p:nvCxnSpPr>
          <p:cNvPr id="29" name="Gerade Verbindung mit Pfeil 28">
            <a:extLst>
              <a:ext uri="{FF2B5EF4-FFF2-40B4-BE49-F238E27FC236}">
                <a16:creationId xmlns:a16="http://schemas.microsoft.com/office/drawing/2014/main" id="{8C05307D-DA07-444E-9E1C-EFF40E7A23C0}"/>
              </a:ext>
            </a:extLst>
          </p:cNvPr>
          <p:cNvCxnSpPr>
            <a:cxnSpLocks/>
            <a:stCxn id="26" idx="3"/>
          </p:cNvCxnSpPr>
          <p:nvPr/>
        </p:nvCxnSpPr>
        <p:spPr>
          <a:xfrm>
            <a:off x="5793680" y="2964744"/>
            <a:ext cx="1201480" cy="30880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cxnSp>
        <p:nvCxnSpPr>
          <p:cNvPr id="11" name="Gerade Verbindung mit Pfeil 10">
            <a:extLst>
              <a:ext uri="{FF2B5EF4-FFF2-40B4-BE49-F238E27FC236}">
                <a16:creationId xmlns:a16="http://schemas.microsoft.com/office/drawing/2014/main" id="{41A990DE-6F23-44BC-8530-FAD15969B1CA}"/>
              </a:ext>
            </a:extLst>
          </p:cNvPr>
          <p:cNvCxnSpPr>
            <a:cxnSpLocks/>
            <a:stCxn id="26" idx="3"/>
          </p:cNvCxnSpPr>
          <p:nvPr/>
        </p:nvCxnSpPr>
        <p:spPr>
          <a:xfrm>
            <a:off x="5793680" y="2964744"/>
            <a:ext cx="1370644" cy="1291789"/>
          </a:xfrm>
          <a:prstGeom prst="straightConnector1">
            <a:avLst/>
          </a:prstGeom>
          <a:ln>
            <a:tailEnd type="triangle"/>
          </a:ln>
        </p:spPr>
        <p:style>
          <a:lnRef idx="3">
            <a:schemeClr val="accent5"/>
          </a:lnRef>
          <a:fillRef idx="0">
            <a:schemeClr val="accent5"/>
          </a:fillRef>
          <a:effectRef idx="2">
            <a:schemeClr val="accent5"/>
          </a:effectRef>
          <a:fontRef idx="minor">
            <a:schemeClr val="tx1"/>
          </a:fontRef>
        </p:style>
      </p:cxnSp>
      <p:sp>
        <p:nvSpPr>
          <p:cNvPr id="14" name="Textfeld 13">
            <a:extLst>
              <a:ext uri="{FF2B5EF4-FFF2-40B4-BE49-F238E27FC236}">
                <a16:creationId xmlns:a16="http://schemas.microsoft.com/office/drawing/2014/main" id="{62755E42-9A0E-45A1-AA24-88BE391FF3E6}"/>
              </a:ext>
            </a:extLst>
          </p:cNvPr>
          <p:cNvSpPr txBox="1"/>
          <p:nvPr/>
        </p:nvSpPr>
        <p:spPr>
          <a:xfrm rot="1097921">
            <a:off x="5430783" y="2792409"/>
            <a:ext cx="1516295" cy="253916"/>
          </a:xfrm>
          <a:prstGeom prst="rect">
            <a:avLst/>
          </a:prstGeom>
          <a:noFill/>
        </p:spPr>
        <p:txBody>
          <a:bodyPr wrap="square" rtlCol="0">
            <a:spAutoFit/>
          </a:bodyPr>
          <a:lstStyle/>
          <a:p>
            <a:pPr algn="r" defTabSz="342900"/>
            <a:r>
              <a:rPr lang="de-DE" sz="1050" dirty="0">
                <a:solidFill>
                  <a:srgbClr val="000000"/>
                </a:solidFill>
                <a:latin typeface="Arial" panose="020B0604020202020204"/>
              </a:rPr>
              <a:t>at </a:t>
            </a:r>
            <a:r>
              <a:rPr lang="de-DE" sz="1050" dirty="0" err="1">
                <a:solidFill>
                  <a:srgbClr val="000000"/>
                </a:solidFill>
                <a:latin typeface="Arial" panose="020B0604020202020204"/>
              </a:rPr>
              <a:t>the</a:t>
            </a:r>
            <a:r>
              <a:rPr lang="de-DE" sz="1050" dirty="0">
                <a:solidFill>
                  <a:srgbClr val="000000"/>
                </a:solidFill>
                <a:latin typeface="Arial" panose="020B0604020202020204"/>
              </a:rPr>
              <a:t> </a:t>
            </a:r>
            <a:r>
              <a:rPr lang="de-DE" sz="1050" dirty="0" err="1">
                <a:solidFill>
                  <a:srgbClr val="000000"/>
                </a:solidFill>
                <a:latin typeface="Arial" panose="020B0604020202020204"/>
              </a:rPr>
              <a:t>moment</a:t>
            </a:r>
            <a:endParaRPr lang="de-DE" sz="1050" dirty="0">
              <a:solidFill>
                <a:srgbClr val="000000"/>
              </a:solidFill>
              <a:latin typeface="Arial" panose="020B0604020202020204"/>
            </a:endParaRPr>
          </a:p>
        </p:txBody>
      </p:sp>
      <p:sp>
        <p:nvSpPr>
          <p:cNvPr id="22" name="Textfeld 21">
            <a:extLst>
              <a:ext uri="{FF2B5EF4-FFF2-40B4-BE49-F238E27FC236}">
                <a16:creationId xmlns:a16="http://schemas.microsoft.com/office/drawing/2014/main" id="{E07DF86C-5579-4C65-A52E-012F664BCA17}"/>
              </a:ext>
            </a:extLst>
          </p:cNvPr>
          <p:cNvSpPr txBox="1"/>
          <p:nvPr/>
        </p:nvSpPr>
        <p:spPr>
          <a:xfrm rot="2668972">
            <a:off x="5182774" y="3018866"/>
            <a:ext cx="1516295" cy="253916"/>
          </a:xfrm>
          <a:prstGeom prst="rect">
            <a:avLst/>
          </a:prstGeom>
          <a:noFill/>
        </p:spPr>
        <p:txBody>
          <a:bodyPr wrap="square" rtlCol="0">
            <a:spAutoFit/>
          </a:bodyPr>
          <a:lstStyle/>
          <a:p>
            <a:pPr algn="r" defTabSz="342900"/>
            <a:r>
              <a:rPr lang="de-DE" sz="1050" dirty="0">
                <a:solidFill>
                  <a:srgbClr val="000000"/>
                </a:solidFill>
                <a:latin typeface="Arial" panose="020B0604020202020204"/>
              </a:rPr>
              <a:t>in </a:t>
            </a:r>
            <a:r>
              <a:rPr lang="de-DE" sz="1050" dirty="0" err="1">
                <a:solidFill>
                  <a:srgbClr val="000000"/>
                </a:solidFill>
                <a:latin typeface="Arial" panose="020B0604020202020204"/>
              </a:rPr>
              <a:t>the</a:t>
            </a:r>
            <a:r>
              <a:rPr lang="de-DE" sz="1050" dirty="0">
                <a:solidFill>
                  <a:srgbClr val="000000"/>
                </a:solidFill>
                <a:latin typeface="Arial" panose="020B0604020202020204"/>
              </a:rPr>
              <a:t> </a:t>
            </a:r>
            <a:r>
              <a:rPr lang="de-DE" sz="1050" dirty="0" err="1">
                <a:solidFill>
                  <a:srgbClr val="000000"/>
                </a:solidFill>
                <a:latin typeface="Arial" panose="020B0604020202020204"/>
              </a:rPr>
              <a:t>future</a:t>
            </a:r>
            <a:endParaRPr lang="de-DE" sz="1050" dirty="0">
              <a:solidFill>
                <a:srgbClr val="000000"/>
              </a:solidFill>
              <a:latin typeface="Arial" panose="020B0604020202020204"/>
            </a:endParaRPr>
          </a:p>
        </p:txBody>
      </p:sp>
    </p:spTree>
    <p:extLst>
      <p:ext uri="{BB962C8B-B14F-4D97-AF65-F5344CB8AC3E}">
        <p14:creationId xmlns:p14="http://schemas.microsoft.com/office/powerpoint/2010/main" val="2022302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75F87B1-C28B-4521-B0F7-73E6F688F9CD}"/>
              </a:ext>
            </a:extLst>
          </p:cNvPr>
          <p:cNvSpPr>
            <a:spLocks noGrp="1"/>
          </p:cNvSpPr>
          <p:nvPr>
            <p:ph type="title"/>
          </p:nvPr>
        </p:nvSpPr>
        <p:spPr/>
        <p:txBody>
          <a:bodyPr/>
          <a:lstStyle/>
          <a:p>
            <a:r>
              <a:rPr lang="en-US" dirty="0"/>
              <a:t>Planned experiments</a:t>
            </a:r>
          </a:p>
        </p:txBody>
      </p:sp>
      <p:sp>
        <p:nvSpPr>
          <p:cNvPr id="3" name="Fußzeilenplatzhalter 2">
            <a:extLst>
              <a:ext uri="{FF2B5EF4-FFF2-40B4-BE49-F238E27FC236}">
                <a16:creationId xmlns:a16="http://schemas.microsoft.com/office/drawing/2014/main" id="{B9EB3148-C8F3-47F2-A9C0-BF30A111AEC5}"/>
              </a:ext>
            </a:extLst>
          </p:cNvPr>
          <p:cNvSpPr>
            <a:spLocks noGrp="1"/>
          </p:cNvSpPr>
          <p:nvPr>
            <p:ph type="ftr" sz="quarter" idx="11"/>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BA335CE0-DA19-455B-B6AC-3EAB9F82DE0E}"/>
              </a:ext>
            </a:extLst>
          </p:cNvPr>
          <p:cNvSpPr>
            <a:spLocks noGrp="1"/>
          </p:cNvSpPr>
          <p:nvPr>
            <p:ph type="sldNum" sz="quarter" idx="12"/>
          </p:nvPr>
        </p:nvSpPr>
        <p:spPr/>
        <p:txBody>
          <a:bodyPr/>
          <a:lstStyle/>
          <a:p>
            <a:pPr defTabSz="342900"/>
            <a:fld id="{ECE691D0-CC49-4FC7-9C4D-6112B0CB3A76}" type="slidenum">
              <a:rPr lang="de-DE">
                <a:solidFill>
                  <a:srgbClr val="000000">
                    <a:tint val="75000"/>
                  </a:srgbClr>
                </a:solidFill>
                <a:latin typeface="Arial" panose="020B0604020202020204"/>
              </a:rPr>
              <a:pPr defTabSz="342900"/>
              <a:t>19</a:t>
            </a:fld>
            <a:endParaRPr lang="de-DE" dirty="0">
              <a:solidFill>
                <a:srgbClr val="000000">
                  <a:tint val="75000"/>
                </a:srgbClr>
              </a:solidFill>
              <a:latin typeface="Arial" panose="020B0604020202020204"/>
            </a:endParaRPr>
          </a:p>
        </p:txBody>
      </p:sp>
    </p:spTree>
    <p:extLst>
      <p:ext uri="{BB962C8B-B14F-4D97-AF65-F5344CB8AC3E}">
        <p14:creationId xmlns:p14="http://schemas.microsoft.com/office/powerpoint/2010/main" val="2511495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3F78B0-ED8E-2636-6F5F-DF5C8D04D1F7}"/>
              </a:ext>
            </a:extLst>
          </p:cNvPr>
          <p:cNvSpPr>
            <a:spLocks noGrp="1"/>
          </p:cNvSpPr>
          <p:nvPr>
            <p:ph type="title"/>
          </p:nvPr>
        </p:nvSpPr>
        <p:spPr/>
        <p:txBody>
          <a:bodyPr/>
          <a:lstStyle/>
          <a:p>
            <a:r>
              <a:rPr lang="en-GB" dirty="0"/>
              <a:t>SPA Report - 2023</a:t>
            </a:r>
          </a:p>
        </p:txBody>
      </p:sp>
      <p:graphicFrame>
        <p:nvGraphicFramePr>
          <p:cNvPr id="5" name="Tabelle 4">
            <a:extLst>
              <a:ext uri="{FF2B5EF4-FFF2-40B4-BE49-F238E27FC236}">
                <a16:creationId xmlns:a16="http://schemas.microsoft.com/office/drawing/2014/main" id="{B8C733CC-8718-0EC2-7262-5E4F8D4524DA}"/>
              </a:ext>
            </a:extLst>
          </p:cNvPr>
          <p:cNvGraphicFramePr>
            <a:graphicFrameLocks noGrp="1"/>
          </p:cNvGraphicFramePr>
          <p:nvPr/>
        </p:nvGraphicFramePr>
        <p:xfrm>
          <a:off x="179512" y="1491630"/>
          <a:ext cx="2249805" cy="579120"/>
        </p:xfrm>
        <a:graphic>
          <a:graphicData uri="http://schemas.openxmlformats.org/drawingml/2006/table">
            <a:tbl>
              <a:tblPr firstRow="1" firstCol="1" bandRow="1">
                <a:tableStyleId>{5C22544A-7EE6-4342-B048-85BDC9FD1C3A}</a:tableStyleId>
              </a:tblPr>
              <a:tblGrid>
                <a:gridCol w="2249805">
                  <a:extLst>
                    <a:ext uri="{9D8B030D-6E8A-4147-A177-3AD203B41FA5}">
                      <a16:colId xmlns:a16="http://schemas.microsoft.com/office/drawing/2014/main" val="1690098323"/>
                    </a:ext>
                  </a:extLst>
                </a:gridCol>
              </a:tblGrid>
              <a:tr h="579120">
                <a:tc>
                  <a:txBody>
                    <a:bodyPr/>
                    <a:lstStyle/>
                    <a:p>
                      <a:pPr>
                        <a:lnSpc>
                          <a:spcPct val="115000"/>
                        </a:lnSpc>
                        <a:spcAft>
                          <a:spcPts val="600"/>
                        </a:spcAft>
                      </a:pPr>
                      <a:r>
                        <a:rPr lang="en-US" sz="1100" dirty="0">
                          <a:effectLst/>
                        </a:rPr>
                        <a:t>SP A.1 Synergistic Load Studies of Plasma-Facing Materials for ITER &amp; DEMO</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76200" marR="76200" marT="0" marB="0"/>
                </a:tc>
                <a:extLst>
                  <a:ext uri="{0D108BD9-81ED-4DB2-BD59-A6C34878D82A}">
                    <a16:rowId xmlns:a16="http://schemas.microsoft.com/office/drawing/2014/main" val="2879778627"/>
                  </a:ext>
                </a:extLst>
              </a:tr>
            </a:tbl>
          </a:graphicData>
        </a:graphic>
      </p:graphicFrame>
      <p:graphicFrame>
        <p:nvGraphicFramePr>
          <p:cNvPr id="6" name="Tabelle 5">
            <a:extLst>
              <a:ext uri="{FF2B5EF4-FFF2-40B4-BE49-F238E27FC236}">
                <a16:creationId xmlns:a16="http://schemas.microsoft.com/office/drawing/2014/main" id="{012E8F0E-8F27-6D5F-8B73-88E9932C49FD}"/>
              </a:ext>
            </a:extLst>
          </p:cNvPr>
          <p:cNvGraphicFramePr>
            <a:graphicFrameLocks noGrp="1"/>
          </p:cNvGraphicFramePr>
          <p:nvPr/>
        </p:nvGraphicFramePr>
        <p:xfrm>
          <a:off x="179512" y="2158026"/>
          <a:ext cx="2249805" cy="566992"/>
        </p:xfrm>
        <a:graphic>
          <a:graphicData uri="http://schemas.openxmlformats.org/drawingml/2006/table">
            <a:tbl>
              <a:tblPr firstRow="1" firstCol="1" bandRow="1">
                <a:tableStyleId>{5C22544A-7EE6-4342-B048-85BDC9FD1C3A}</a:tableStyleId>
              </a:tblPr>
              <a:tblGrid>
                <a:gridCol w="2249805">
                  <a:extLst>
                    <a:ext uri="{9D8B030D-6E8A-4147-A177-3AD203B41FA5}">
                      <a16:colId xmlns:a16="http://schemas.microsoft.com/office/drawing/2014/main" val="3504066188"/>
                    </a:ext>
                  </a:extLst>
                </a:gridCol>
              </a:tblGrid>
              <a:tr h="0">
                <a:tc>
                  <a:txBody>
                    <a:bodyPr/>
                    <a:lstStyle/>
                    <a:p>
                      <a:pPr>
                        <a:lnSpc>
                          <a:spcPct val="115000"/>
                        </a:lnSpc>
                        <a:spcAft>
                          <a:spcPts val="600"/>
                        </a:spcAft>
                      </a:pPr>
                      <a:r>
                        <a:rPr lang="en-US" sz="1100" dirty="0">
                          <a:effectLst/>
                        </a:rPr>
                        <a:t>SP A.2 High Particle Fluence Exposures of Plasma-Facing Components for ITER</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76200" marR="76200" marT="0" marB="0"/>
                </a:tc>
                <a:extLst>
                  <a:ext uri="{0D108BD9-81ED-4DB2-BD59-A6C34878D82A}">
                    <a16:rowId xmlns:a16="http://schemas.microsoft.com/office/drawing/2014/main" val="1797231575"/>
                  </a:ext>
                </a:extLst>
              </a:tr>
            </a:tbl>
          </a:graphicData>
        </a:graphic>
      </p:graphicFrame>
      <p:graphicFrame>
        <p:nvGraphicFramePr>
          <p:cNvPr id="7" name="Tabelle 6">
            <a:extLst>
              <a:ext uri="{FF2B5EF4-FFF2-40B4-BE49-F238E27FC236}">
                <a16:creationId xmlns:a16="http://schemas.microsoft.com/office/drawing/2014/main" id="{3FA1B900-83BD-8D32-AC86-A085ED83FE6F}"/>
              </a:ext>
            </a:extLst>
          </p:cNvPr>
          <p:cNvGraphicFramePr>
            <a:graphicFrameLocks noGrp="1"/>
          </p:cNvGraphicFramePr>
          <p:nvPr/>
        </p:nvGraphicFramePr>
        <p:xfrm>
          <a:off x="179512" y="2806098"/>
          <a:ext cx="2249805" cy="566992"/>
        </p:xfrm>
        <a:graphic>
          <a:graphicData uri="http://schemas.openxmlformats.org/drawingml/2006/table">
            <a:tbl>
              <a:tblPr firstRow="1" firstCol="1" bandRow="1">
                <a:tableStyleId>{5C22544A-7EE6-4342-B048-85BDC9FD1C3A}</a:tableStyleId>
              </a:tblPr>
              <a:tblGrid>
                <a:gridCol w="2249805">
                  <a:extLst>
                    <a:ext uri="{9D8B030D-6E8A-4147-A177-3AD203B41FA5}">
                      <a16:colId xmlns:a16="http://schemas.microsoft.com/office/drawing/2014/main" val="3025144535"/>
                    </a:ext>
                  </a:extLst>
                </a:gridCol>
              </a:tblGrid>
              <a:tr h="0">
                <a:tc>
                  <a:txBody>
                    <a:bodyPr/>
                    <a:lstStyle/>
                    <a:p>
                      <a:pPr>
                        <a:lnSpc>
                          <a:spcPct val="115000"/>
                        </a:lnSpc>
                        <a:spcAft>
                          <a:spcPts val="600"/>
                        </a:spcAft>
                      </a:pPr>
                      <a:r>
                        <a:rPr lang="en-US" sz="1100" dirty="0">
                          <a:effectLst/>
                        </a:rPr>
                        <a:t>SP A.3 Advanced Materials under thermo-mechanical and plasma loads</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76200" marR="76200" marT="0" marB="0"/>
                </a:tc>
                <a:extLst>
                  <a:ext uri="{0D108BD9-81ED-4DB2-BD59-A6C34878D82A}">
                    <a16:rowId xmlns:a16="http://schemas.microsoft.com/office/drawing/2014/main" val="3350030702"/>
                  </a:ext>
                </a:extLst>
              </a:tr>
            </a:tbl>
          </a:graphicData>
        </a:graphic>
      </p:graphicFrame>
      <p:graphicFrame>
        <p:nvGraphicFramePr>
          <p:cNvPr id="8" name="Tabelle 7">
            <a:extLst>
              <a:ext uri="{FF2B5EF4-FFF2-40B4-BE49-F238E27FC236}">
                <a16:creationId xmlns:a16="http://schemas.microsoft.com/office/drawing/2014/main" id="{644FCDC3-ED5F-E95C-F6A0-CA30C226F668}"/>
              </a:ext>
            </a:extLst>
          </p:cNvPr>
          <p:cNvGraphicFramePr>
            <a:graphicFrameLocks noGrp="1"/>
          </p:cNvGraphicFramePr>
          <p:nvPr/>
        </p:nvGraphicFramePr>
        <p:xfrm>
          <a:off x="179512" y="3452778"/>
          <a:ext cx="2249805" cy="566992"/>
        </p:xfrm>
        <a:graphic>
          <a:graphicData uri="http://schemas.openxmlformats.org/drawingml/2006/table">
            <a:tbl>
              <a:tblPr firstRow="1" firstCol="1" bandRow="1">
                <a:tableStyleId>{5C22544A-7EE6-4342-B048-85BDC9FD1C3A}</a:tableStyleId>
              </a:tblPr>
              <a:tblGrid>
                <a:gridCol w="2249805">
                  <a:extLst>
                    <a:ext uri="{9D8B030D-6E8A-4147-A177-3AD203B41FA5}">
                      <a16:colId xmlns:a16="http://schemas.microsoft.com/office/drawing/2014/main" val="2067904741"/>
                    </a:ext>
                  </a:extLst>
                </a:gridCol>
              </a:tblGrid>
              <a:tr h="0">
                <a:tc>
                  <a:txBody>
                    <a:bodyPr/>
                    <a:lstStyle/>
                    <a:p>
                      <a:pPr>
                        <a:lnSpc>
                          <a:spcPct val="115000"/>
                        </a:lnSpc>
                        <a:spcAft>
                          <a:spcPts val="600"/>
                        </a:spcAft>
                      </a:pPr>
                      <a:r>
                        <a:rPr lang="en-US" sz="1100" dirty="0">
                          <a:effectLst/>
                        </a:rPr>
                        <a:t>SP A.4 High Temperature performance of </a:t>
                      </a:r>
                      <a:r>
                        <a:rPr lang="en-US" sz="1100" dirty="0" err="1">
                          <a:effectLst/>
                        </a:rPr>
                        <a:t>Armour</a:t>
                      </a:r>
                      <a:r>
                        <a:rPr lang="en-US" sz="1100" dirty="0">
                          <a:effectLst/>
                        </a:rPr>
                        <a:t> Materials: Recrystallization and Melting</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76200" marR="76200" marT="0" marB="0"/>
                </a:tc>
                <a:extLst>
                  <a:ext uri="{0D108BD9-81ED-4DB2-BD59-A6C34878D82A}">
                    <a16:rowId xmlns:a16="http://schemas.microsoft.com/office/drawing/2014/main" val="258008875"/>
                  </a:ext>
                </a:extLst>
              </a:tr>
            </a:tbl>
          </a:graphicData>
        </a:graphic>
      </p:graphicFrame>
      <p:sp>
        <p:nvSpPr>
          <p:cNvPr id="9" name="Rechteck 8">
            <a:extLst>
              <a:ext uri="{FF2B5EF4-FFF2-40B4-BE49-F238E27FC236}">
                <a16:creationId xmlns:a16="http://schemas.microsoft.com/office/drawing/2014/main" id="{51B7B036-B21B-2285-748F-47F594A6167E}"/>
              </a:ext>
            </a:extLst>
          </p:cNvPr>
          <p:cNvSpPr/>
          <p:nvPr/>
        </p:nvSpPr>
        <p:spPr>
          <a:xfrm>
            <a:off x="179512" y="4246372"/>
            <a:ext cx="2952328" cy="507831"/>
          </a:xfrm>
          <a:prstGeom prst="rect">
            <a:avLst/>
          </a:prstGeom>
        </p:spPr>
        <p:txBody>
          <a:bodyPr wrap="square">
            <a:spAutoFit/>
          </a:bodyPr>
          <a:lstStyle/>
          <a:p>
            <a:r>
              <a:rPr lang="en-US" sz="1350" dirty="0">
                <a:latin typeface="Calibri" panose="020F0502020204030204" pitchFamily="34" charset="0"/>
                <a:ea typeface="SimSun" panose="02010600030101010101" pitchFamily="2" charset="-122"/>
                <a:cs typeface="Arial" panose="020B0604020202020204" pitchFamily="34" charset="0"/>
              </a:rPr>
              <a:t>Participants: CEA, CIEMAT, DIFFER, DTU, FZJ, JSI, KIPT, LPP-ERM-KMS, MPG, VR</a:t>
            </a:r>
            <a:endParaRPr lang="de-DE" sz="1350" dirty="0"/>
          </a:p>
        </p:txBody>
      </p:sp>
      <p:sp>
        <p:nvSpPr>
          <p:cNvPr id="10" name="Textfeld 9">
            <a:extLst>
              <a:ext uri="{FF2B5EF4-FFF2-40B4-BE49-F238E27FC236}">
                <a16:creationId xmlns:a16="http://schemas.microsoft.com/office/drawing/2014/main" id="{D9CBC6CE-D9D0-5EF8-847C-35DB1A44E032}"/>
              </a:ext>
            </a:extLst>
          </p:cNvPr>
          <p:cNvSpPr txBox="1"/>
          <p:nvPr/>
        </p:nvSpPr>
        <p:spPr>
          <a:xfrm>
            <a:off x="3491880" y="1203598"/>
            <a:ext cx="4968552" cy="2800767"/>
          </a:xfrm>
          <a:prstGeom prst="rect">
            <a:avLst/>
          </a:prstGeom>
          <a:solidFill>
            <a:schemeClr val="bg1">
              <a:lumMod val="95000"/>
            </a:schemeClr>
          </a:solidFill>
          <a:ln w="38100">
            <a:solidFill>
              <a:srgbClr val="00B0F0"/>
            </a:solidFill>
          </a:ln>
        </p:spPr>
        <p:txBody>
          <a:bodyPr wrap="square" rtlCol="0">
            <a:spAutoFit/>
          </a:bodyPr>
          <a:lstStyle/>
          <a:p>
            <a:pPr marL="285750" indent="-285750">
              <a:buFont typeface="Wingdings" panose="05000000000000000000" pitchFamily="2" charset="2"/>
              <a:buChar char="§"/>
            </a:pPr>
            <a:r>
              <a:rPr lang="en-GB" sz="1600" dirty="0"/>
              <a:t>Focus on damage evolution of ITER-like MBs</a:t>
            </a:r>
          </a:p>
          <a:p>
            <a:r>
              <a:rPr lang="en-GB" sz="1600" dirty="0"/>
              <a:t>      (including WEST MBs)</a:t>
            </a:r>
          </a:p>
          <a:p>
            <a:pPr marL="285750" indent="-285750">
              <a:buFont typeface="Wingdings" panose="05000000000000000000" pitchFamily="2" charset="2"/>
              <a:buChar char="§"/>
            </a:pPr>
            <a:r>
              <a:rPr lang="en-GB" sz="1600" dirty="0" err="1"/>
              <a:t>Recrystallisation</a:t>
            </a:r>
            <a:r>
              <a:rPr lang="en-GB" sz="1600" dirty="0"/>
              <a:t> evolution in W (incl. modelling)</a:t>
            </a:r>
          </a:p>
          <a:p>
            <a:pPr marL="285750" indent="-285750">
              <a:buFont typeface="Wingdings" panose="05000000000000000000" pitchFamily="2" charset="2"/>
              <a:buChar char="§"/>
            </a:pPr>
            <a:r>
              <a:rPr lang="en-GB" sz="1600" dirty="0"/>
              <a:t>Focus on ITER-like MBs testing under multiple seeding, species, ELMs, and He</a:t>
            </a:r>
          </a:p>
          <a:p>
            <a:pPr marL="285750" indent="-285750">
              <a:buFont typeface="Wingdings" panose="05000000000000000000" pitchFamily="2" charset="2"/>
              <a:buChar char="§"/>
            </a:pPr>
            <a:r>
              <a:rPr lang="en-GB" sz="1600" dirty="0"/>
              <a:t>Plasma qualification of new materials for DEMO and other toroidal facilities (e.g. W7-X)</a:t>
            </a:r>
          </a:p>
          <a:p>
            <a:pPr marL="285750" indent="-285750">
              <a:buFont typeface="Wingdings" panose="05000000000000000000" pitchFamily="2" charset="2"/>
              <a:buChar char="§"/>
            </a:pPr>
            <a:r>
              <a:rPr lang="en-GB" sz="1600" dirty="0"/>
              <a:t>Disruption-like loading for DEMO (incl. OLMAT)</a:t>
            </a:r>
          </a:p>
          <a:p>
            <a:pPr marL="285750" indent="-285750">
              <a:buFont typeface="Wingdings" panose="05000000000000000000" pitchFamily="2" charset="2"/>
              <a:buChar char="§"/>
            </a:pPr>
            <a:endParaRPr lang="en-GB" sz="1600" dirty="0"/>
          </a:p>
          <a:p>
            <a:pPr marL="285750" indent="-285750">
              <a:buFont typeface="Wingdings" panose="05000000000000000000" pitchFamily="2" charset="2"/>
              <a:buChar char="§"/>
            </a:pPr>
            <a:r>
              <a:rPr lang="en-GB" sz="1600" i="1" dirty="0"/>
              <a:t>Melting of MBs =&gt; MEMETO modelling)</a:t>
            </a:r>
          </a:p>
          <a:p>
            <a:pPr marL="285750" indent="-285750">
              <a:buFont typeface="Wingdings" panose="05000000000000000000" pitchFamily="2" charset="2"/>
              <a:buChar char="§"/>
            </a:pPr>
            <a:r>
              <a:rPr lang="en-GB" sz="1600" i="1" dirty="0">
                <a:solidFill>
                  <a:srgbClr val="FF0000"/>
                </a:solidFill>
              </a:rPr>
              <a:t>KIPT as possible during </a:t>
            </a:r>
            <a:r>
              <a:rPr lang="en-GB" sz="1600" i="1" dirty="0" err="1">
                <a:solidFill>
                  <a:srgbClr val="FF0000"/>
                </a:solidFill>
              </a:rPr>
              <a:t>cicumstances</a:t>
            </a:r>
            <a:endParaRPr lang="en-GB" sz="1600" i="1" dirty="0">
              <a:solidFill>
                <a:srgbClr val="FF0000"/>
              </a:solidFill>
            </a:endParaRPr>
          </a:p>
        </p:txBody>
      </p:sp>
      <p:sp>
        <p:nvSpPr>
          <p:cNvPr id="11" name="Textfeld 10">
            <a:extLst>
              <a:ext uri="{FF2B5EF4-FFF2-40B4-BE49-F238E27FC236}">
                <a16:creationId xmlns:a16="http://schemas.microsoft.com/office/drawing/2014/main" id="{4D5584C3-65EB-7ED2-3395-376C12071885}"/>
              </a:ext>
            </a:extLst>
          </p:cNvPr>
          <p:cNvSpPr txBox="1"/>
          <p:nvPr/>
        </p:nvSpPr>
        <p:spPr>
          <a:xfrm>
            <a:off x="3713833" y="4019833"/>
            <a:ext cx="2182457" cy="369332"/>
          </a:xfrm>
          <a:prstGeom prst="rect">
            <a:avLst/>
          </a:prstGeom>
          <a:noFill/>
        </p:spPr>
        <p:txBody>
          <a:bodyPr wrap="none" rtlCol="0">
            <a:spAutoFit/>
          </a:bodyPr>
          <a:lstStyle/>
          <a:p>
            <a:r>
              <a:rPr lang="en-GB" dirty="0"/>
              <a:t>Detailed information </a:t>
            </a:r>
          </a:p>
        </p:txBody>
      </p:sp>
      <p:sp>
        <p:nvSpPr>
          <p:cNvPr id="13" name="Textfeld 12">
            <a:extLst>
              <a:ext uri="{FF2B5EF4-FFF2-40B4-BE49-F238E27FC236}">
                <a16:creationId xmlns:a16="http://schemas.microsoft.com/office/drawing/2014/main" id="{79D8FB58-BBE1-0166-FE45-168B0556921E}"/>
              </a:ext>
            </a:extLst>
          </p:cNvPr>
          <p:cNvSpPr txBox="1"/>
          <p:nvPr/>
        </p:nvSpPr>
        <p:spPr>
          <a:xfrm>
            <a:off x="3739818" y="4389165"/>
            <a:ext cx="4665846" cy="276999"/>
          </a:xfrm>
          <a:prstGeom prst="rect">
            <a:avLst/>
          </a:prstGeom>
          <a:noFill/>
        </p:spPr>
        <p:txBody>
          <a:bodyPr wrap="square">
            <a:spAutoFit/>
          </a:bodyPr>
          <a:lstStyle/>
          <a:p>
            <a:r>
              <a:rPr lang="en-GB" sz="1200" b="1" dirty="0"/>
              <a:t>https://</a:t>
            </a:r>
            <a:r>
              <a:rPr lang="en-GB" sz="1200" b="1" dirty="0" err="1"/>
              <a:t>idm.euro-fusion.org</a:t>
            </a:r>
            <a:r>
              <a:rPr lang="en-GB" sz="1200" b="1" dirty="0"/>
              <a:t>/</a:t>
            </a:r>
            <a:r>
              <a:rPr lang="en-GB" sz="1200" b="1" dirty="0" err="1"/>
              <a:t>default.aspx?uid</a:t>
            </a:r>
            <a:r>
              <a:rPr lang="en-GB" sz="1200" b="1" dirty="0"/>
              <a:t>=2PBXPU</a:t>
            </a:r>
          </a:p>
        </p:txBody>
      </p:sp>
      <p:sp>
        <p:nvSpPr>
          <p:cNvPr id="4" name="Fußzeilenplatzhalter 3">
            <a:extLst>
              <a:ext uri="{FF2B5EF4-FFF2-40B4-BE49-F238E27FC236}">
                <a16:creationId xmlns:a16="http://schemas.microsoft.com/office/drawing/2014/main" id="{C0201E23-443F-C0C8-EFC9-7F717A0D05B0}"/>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7.2024 | Page </a:t>
            </a:r>
            <a:fld id="{6A6D9FA1-99C7-4910-8E32-B85D378B0060}" type="slidenum">
              <a:rPr lang="en-GB" smtClean="0"/>
              <a:pPr algn="r"/>
              <a:t>2</a:t>
            </a:fld>
            <a:endParaRPr lang="en-GB" dirty="0"/>
          </a:p>
        </p:txBody>
      </p:sp>
    </p:spTree>
    <p:extLst>
      <p:ext uri="{BB962C8B-B14F-4D97-AF65-F5344CB8AC3E}">
        <p14:creationId xmlns:p14="http://schemas.microsoft.com/office/powerpoint/2010/main" val="2770586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AE43542C-3A66-4107-AD83-A71D167E91FB}"/>
              </a:ext>
            </a:extLst>
          </p:cNvPr>
          <p:cNvPicPr>
            <a:picLocks noChangeAspect="1"/>
          </p:cNvPicPr>
          <p:nvPr/>
        </p:nvPicPr>
        <p:blipFill>
          <a:blip r:embed="rId2"/>
          <a:stretch>
            <a:fillRect/>
          </a:stretch>
        </p:blipFill>
        <p:spPr>
          <a:xfrm>
            <a:off x="4546245" y="1513492"/>
            <a:ext cx="4553930" cy="2493818"/>
          </a:xfrm>
          <a:prstGeom prst="rect">
            <a:avLst/>
          </a:prstGeom>
        </p:spPr>
      </p:pic>
      <p:sp>
        <p:nvSpPr>
          <p:cNvPr id="3" name="Fußzeilenplatzhalter 2">
            <a:extLst>
              <a:ext uri="{FF2B5EF4-FFF2-40B4-BE49-F238E27FC236}">
                <a16:creationId xmlns:a16="http://schemas.microsoft.com/office/drawing/2014/main" id="{37B37628-A1E9-4AEB-AFC2-8CC6770485FC}"/>
              </a:ext>
            </a:extLst>
          </p:cNvPr>
          <p:cNvSpPr>
            <a:spLocks noGrp="1"/>
          </p:cNvSpPr>
          <p:nvPr>
            <p:ph type="ftr" sz="quarter" idx="15"/>
          </p:nvPr>
        </p:nvSpPr>
        <p:spPr/>
        <p:txBody>
          <a:bodyPr/>
          <a:lstStyle/>
          <a:p>
            <a:pPr defTabSz="342900"/>
            <a:r>
              <a:rPr lang="pt-BR">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81EDC01B-22F6-4A75-9DCD-60592D22870C}"/>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20</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CA5F2FFF-0AD2-4870-A98C-3F28356FFD42}"/>
              </a:ext>
            </a:extLst>
          </p:cNvPr>
          <p:cNvSpPr>
            <a:spLocks noGrp="1"/>
          </p:cNvSpPr>
          <p:nvPr>
            <p:ph type="title"/>
          </p:nvPr>
        </p:nvSpPr>
        <p:spPr>
          <a:xfrm>
            <a:off x="494110" y="330994"/>
            <a:ext cx="7209738" cy="586979"/>
          </a:xfrm>
        </p:spPr>
        <p:txBody>
          <a:bodyPr/>
          <a:lstStyle/>
          <a:p>
            <a:r>
              <a:rPr lang="en-US" dirty="0"/>
              <a:t>Influence of mechanical stress on deuterium retention</a:t>
            </a:r>
          </a:p>
        </p:txBody>
      </p:sp>
      <p:sp>
        <p:nvSpPr>
          <p:cNvPr id="8" name="Inhaltsplatzhalter 1">
            <a:extLst>
              <a:ext uri="{FF2B5EF4-FFF2-40B4-BE49-F238E27FC236}">
                <a16:creationId xmlns:a16="http://schemas.microsoft.com/office/drawing/2014/main" id="{D325973A-8736-4722-8CE1-90F2700A89FF}"/>
              </a:ext>
            </a:extLst>
          </p:cNvPr>
          <p:cNvSpPr txBox="1">
            <a:spLocks/>
          </p:cNvSpPr>
          <p:nvPr/>
        </p:nvSpPr>
        <p:spPr>
          <a:xfrm>
            <a:off x="494110" y="1207295"/>
            <a:ext cx="4434191" cy="3214932"/>
          </a:xfrm>
          <a:prstGeom prst="rect">
            <a:avLst/>
          </a:prstGeom>
        </p:spPr>
        <p:txBody>
          <a:bodyPr vert="horz" lIns="0" tIns="34290" rIns="0" bIns="3429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34541" lvl="2" indent="-134541" defTabSz="685800">
              <a:spcBef>
                <a:spcPts val="450"/>
              </a:spcBef>
            </a:pPr>
            <a:r>
              <a:rPr lang="en-US" sz="1350" spc="30" dirty="0">
                <a:solidFill>
                  <a:srgbClr val="29485D"/>
                </a:solidFill>
                <a:latin typeface="Arial" panose="020B0604020202020204"/>
              </a:rPr>
              <a:t> 25 µm tungsten foils as samples</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Sample is mechanically preloaded within the elastic region</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Deuterium loading using low energy ion source</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In situ NRA to determine the retained deuterium</a:t>
            </a:r>
          </a:p>
        </p:txBody>
      </p:sp>
      <p:sp>
        <p:nvSpPr>
          <p:cNvPr id="11" name="Inhaltsplatzhalter 1">
            <a:extLst>
              <a:ext uri="{FF2B5EF4-FFF2-40B4-BE49-F238E27FC236}">
                <a16:creationId xmlns:a16="http://schemas.microsoft.com/office/drawing/2014/main" id="{56AA4D63-CC54-4772-972E-814EDF6D35D8}"/>
              </a:ext>
            </a:extLst>
          </p:cNvPr>
          <p:cNvSpPr txBox="1">
            <a:spLocks/>
          </p:cNvSpPr>
          <p:nvPr/>
        </p:nvSpPr>
        <p:spPr>
          <a:xfrm>
            <a:off x="494109" y="4195264"/>
            <a:ext cx="7030773" cy="398043"/>
          </a:xfrm>
          <a:prstGeom prst="rect">
            <a:avLst/>
          </a:prstGeom>
        </p:spPr>
        <p:txBody>
          <a:bodyPr vert="horz" lIns="0" tIns="34290" rIns="0" bIns="3429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defTabSz="685800">
              <a:spcBef>
                <a:spcPts val="450"/>
              </a:spcBef>
            </a:pPr>
            <a:r>
              <a:rPr lang="en-US" sz="1350" spc="30" dirty="0">
                <a:solidFill>
                  <a:srgbClr val="005555"/>
                </a:solidFill>
                <a:latin typeface="Arial" panose="020B0604020202020204"/>
              </a:rPr>
              <a:t>Data for model building but also as a baseline for following investigations</a:t>
            </a:r>
          </a:p>
        </p:txBody>
      </p:sp>
    </p:spTree>
    <p:extLst>
      <p:ext uri="{BB962C8B-B14F-4D97-AF65-F5344CB8AC3E}">
        <p14:creationId xmlns:p14="http://schemas.microsoft.com/office/powerpoint/2010/main" val="4139741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AE43542C-3A66-4107-AD83-A71D167E91FB}"/>
              </a:ext>
            </a:extLst>
          </p:cNvPr>
          <p:cNvPicPr>
            <a:picLocks noChangeAspect="1"/>
          </p:cNvPicPr>
          <p:nvPr/>
        </p:nvPicPr>
        <p:blipFill>
          <a:blip r:embed="rId2"/>
          <a:stretch>
            <a:fillRect/>
          </a:stretch>
        </p:blipFill>
        <p:spPr>
          <a:xfrm>
            <a:off x="4546245" y="1513492"/>
            <a:ext cx="4553929" cy="2493818"/>
          </a:xfrm>
          <a:prstGeom prst="rect">
            <a:avLst/>
          </a:prstGeom>
        </p:spPr>
      </p:pic>
      <p:sp>
        <p:nvSpPr>
          <p:cNvPr id="3" name="Fußzeilenplatzhalter 2">
            <a:extLst>
              <a:ext uri="{FF2B5EF4-FFF2-40B4-BE49-F238E27FC236}">
                <a16:creationId xmlns:a16="http://schemas.microsoft.com/office/drawing/2014/main" id="{37B37628-A1E9-4AEB-AFC2-8CC6770485FC}"/>
              </a:ext>
            </a:extLst>
          </p:cNvPr>
          <p:cNvSpPr>
            <a:spLocks noGrp="1"/>
          </p:cNvSpPr>
          <p:nvPr>
            <p:ph type="ftr" sz="quarter" idx="15"/>
          </p:nvPr>
        </p:nvSpPr>
        <p:spPr/>
        <p:txBody>
          <a:bodyPr/>
          <a:lstStyle/>
          <a:p>
            <a:pPr defTabSz="342900"/>
            <a:r>
              <a:rPr lang="pt-BR">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81EDC01B-22F6-4A75-9DCD-60592D22870C}"/>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21</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CA5F2FFF-0AD2-4870-A98C-3F28356FFD42}"/>
              </a:ext>
            </a:extLst>
          </p:cNvPr>
          <p:cNvSpPr>
            <a:spLocks noGrp="1"/>
          </p:cNvSpPr>
          <p:nvPr>
            <p:ph type="title"/>
          </p:nvPr>
        </p:nvSpPr>
        <p:spPr>
          <a:xfrm>
            <a:off x="494109" y="330994"/>
            <a:ext cx="7499009" cy="586979"/>
          </a:xfrm>
        </p:spPr>
        <p:txBody>
          <a:bodyPr/>
          <a:lstStyle/>
          <a:p>
            <a:r>
              <a:rPr lang="en-US" dirty="0"/>
              <a:t>Influence of mechanical stress on the production of irradiation damage</a:t>
            </a:r>
          </a:p>
        </p:txBody>
      </p:sp>
      <p:sp>
        <p:nvSpPr>
          <p:cNvPr id="8" name="Inhaltsplatzhalter 1">
            <a:extLst>
              <a:ext uri="{FF2B5EF4-FFF2-40B4-BE49-F238E27FC236}">
                <a16:creationId xmlns:a16="http://schemas.microsoft.com/office/drawing/2014/main" id="{D325973A-8736-4722-8CE1-90F2700A89FF}"/>
              </a:ext>
            </a:extLst>
          </p:cNvPr>
          <p:cNvSpPr txBox="1">
            <a:spLocks/>
          </p:cNvSpPr>
          <p:nvPr/>
        </p:nvSpPr>
        <p:spPr>
          <a:xfrm>
            <a:off x="494110" y="1207295"/>
            <a:ext cx="4434191" cy="3650061"/>
          </a:xfrm>
          <a:prstGeom prst="rect">
            <a:avLst/>
          </a:prstGeom>
        </p:spPr>
        <p:txBody>
          <a:bodyPr vert="horz" lIns="0" tIns="34290" rIns="0" bIns="3429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134541" lvl="2" indent="-134541" defTabSz="685800">
              <a:spcBef>
                <a:spcPts val="450"/>
              </a:spcBef>
            </a:pPr>
            <a:r>
              <a:rPr lang="en-US" sz="1350" spc="30" dirty="0">
                <a:solidFill>
                  <a:srgbClr val="29485D"/>
                </a:solidFill>
                <a:latin typeface="Arial" panose="020B0604020202020204"/>
              </a:rPr>
              <a:t>Same samples as in the previous experiment</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Damaging the sample with high-energy ions</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Deuterium loading using low energy ion source</a:t>
            </a:r>
          </a:p>
          <a:p>
            <a:pPr marL="134541" lvl="2" indent="-134541" defTabSz="685800">
              <a:spcBef>
                <a:spcPts val="450"/>
              </a:spcBef>
            </a:pPr>
            <a:endParaRPr lang="en-US" sz="1350" spc="30" dirty="0">
              <a:solidFill>
                <a:srgbClr val="29485D"/>
              </a:solidFill>
              <a:latin typeface="Arial" panose="020B0604020202020204"/>
            </a:endParaRPr>
          </a:p>
          <a:p>
            <a:pPr marL="134541" lvl="2" indent="-134541" defTabSz="685800">
              <a:spcBef>
                <a:spcPts val="450"/>
              </a:spcBef>
            </a:pPr>
            <a:r>
              <a:rPr lang="en-US" sz="1350" spc="30" dirty="0">
                <a:solidFill>
                  <a:srgbClr val="29485D"/>
                </a:solidFill>
                <a:latin typeface="Arial" panose="020B0604020202020204"/>
              </a:rPr>
              <a:t>In situ NRA to determine the retained deuterium</a:t>
            </a:r>
          </a:p>
          <a:p>
            <a:pPr marL="267891" lvl="4" indent="-134541" defTabSz="685800">
              <a:spcBef>
                <a:spcPts val="450"/>
              </a:spcBef>
            </a:pPr>
            <a:endParaRPr lang="en-US" sz="1350" spc="30" dirty="0">
              <a:solidFill>
                <a:srgbClr val="000000"/>
              </a:solidFill>
              <a:latin typeface="Arial" panose="020B0604020202020204"/>
            </a:endParaRPr>
          </a:p>
          <a:p>
            <a:pPr marL="134541" lvl="3" indent="-134541" defTabSz="685800">
              <a:spcBef>
                <a:spcPts val="450"/>
              </a:spcBef>
            </a:pPr>
            <a:endParaRPr lang="en-US" sz="1350" spc="30" dirty="0">
              <a:solidFill>
                <a:srgbClr val="000000"/>
              </a:solidFill>
              <a:latin typeface="Arial" panose="020B0604020202020204"/>
            </a:endParaRPr>
          </a:p>
          <a:p>
            <a:pPr marL="134541" lvl="2" indent="-134541" defTabSz="685800">
              <a:spcBef>
                <a:spcPts val="450"/>
              </a:spcBef>
            </a:pPr>
            <a:endParaRPr lang="en-US" sz="1350" spc="30" dirty="0">
              <a:solidFill>
                <a:srgbClr val="29485D"/>
              </a:solidFill>
              <a:latin typeface="Arial" panose="020B0604020202020204"/>
            </a:endParaRPr>
          </a:p>
        </p:txBody>
      </p:sp>
      <p:sp>
        <p:nvSpPr>
          <p:cNvPr id="7" name="Inhaltsplatzhalter 1">
            <a:extLst>
              <a:ext uri="{FF2B5EF4-FFF2-40B4-BE49-F238E27FC236}">
                <a16:creationId xmlns:a16="http://schemas.microsoft.com/office/drawing/2014/main" id="{5ACC1393-4DBF-4E2E-9D30-9006610BBBC0}"/>
              </a:ext>
            </a:extLst>
          </p:cNvPr>
          <p:cNvSpPr txBox="1">
            <a:spLocks/>
          </p:cNvSpPr>
          <p:nvPr/>
        </p:nvSpPr>
        <p:spPr>
          <a:xfrm>
            <a:off x="494109" y="4195264"/>
            <a:ext cx="7030773" cy="398043"/>
          </a:xfrm>
          <a:prstGeom prst="rect">
            <a:avLst/>
          </a:prstGeom>
        </p:spPr>
        <p:txBody>
          <a:bodyPr vert="horz" lIns="0" tIns="34290" rIns="0" bIns="3429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1" defTabSz="685800">
              <a:spcBef>
                <a:spcPts val="450"/>
              </a:spcBef>
            </a:pPr>
            <a:r>
              <a:rPr lang="en-US" sz="1350" spc="30" dirty="0">
                <a:solidFill>
                  <a:srgbClr val="005555"/>
                </a:solidFill>
                <a:latin typeface="Arial" panose="020B0604020202020204"/>
              </a:rPr>
              <a:t>Retained deuterium is a measurement of the produced irradiation damage</a:t>
            </a:r>
          </a:p>
          <a:p>
            <a:pPr lvl="1" defTabSz="685800">
              <a:spcBef>
                <a:spcPts val="450"/>
              </a:spcBef>
            </a:pPr>
            <a:endParaRPr lang="en-US" sz="1350" spc="30" dirty="0">
              <a:solidFill>
                <a:srgbClr val="005555"/>
              </a:solidFill>
              <a:latin typeface="Arial" panose="020B0604020202020204"/>
            </a:endParaRPr>
          </a:p>
        </p:txBody>
      </p:sp>
    </p:spTree>
    <p:extLst>
      <p:ext uri="{BB962C8B-B14F-4D97-AF65-F5344CB8AC3E}">
        <p14:creationId xmlns:p14="http://schemas.microsoft.com/office/powerpoint/2010/main" val="14722621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11186F79-9B5E-4DD7-9BFA-51F83A1FBB98}"/>
              </a:ext>
            </a:extLst>
          </p:cNvPr>
          <p:cNvSpPr>
            <a:spLocks noGrp="1"/>
          </p:cNvSpPr>
          <p:nvPr>
            <p:ph type="ftr" sz="quarter" idx="15"/>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172A937A-990D-4101-9322-8E921C34AADD}"/>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22</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4CD5E9DC-E0FF-42C8-AA95-9B4B6BA57B90}"/>
              </a:ext>
            </a:extLst>
          </p:cNvPr>
          <p:cNvSpPr>
            <a:spLocks noGrp="1"/>
          </p:cNvSpPr>
          <p:nvPr>
            <p:ph type="title"/>
          </p:nvPr>
        </p:nvSpPr>
        <p:spPr>
          <a:xfrm>
            <a:off x="494110" y="330994"/>
            <a:ext cx="7209738" cy="586979"/>
          </a:xfrm>
        </p:spPr>
        <p:txBody>
          <a:bodyPr/>
          <a:lstStyle/>
          <a:p>
            <a:r>
              <a:rPr lang="en-US" dirty="0"/>
              <a:t>Influence of carbon on the mechanical properties of tungsten</a:t>
            </a:r>
          </a:p>
        </p:txBody>
      </p:sp>
      <p:sp>
        <p:nvSpPr>
          <p:cNvPr id="34" name="Inhaltsplatzhalter 1">
            <a:extLst>
              <a:ext uri="{FF2B5EF4-FFF2-40B4-BE49-F238E27FC236}">
                <a16:creationId xmlns:a16="http://schemas.microsoft.com/office/drawing/2014/main" id="{C968752F-30C9-4221-968F-E76D4044C488}"/>
              </a:ext>
            </a:extLst>
          </p:cNvPr>
          <p:cNvSpPr>
            <a:spLocks noGrp="1"/>
          </p:cNvSpPr>
          <p:nvPr>
            <p:ph sz="quarter" idx="13"/>
          </p:nvPr>
        </p:nvSpPr>
        <p:spPr>
          <a:xfrm>
            <a:off x="494110" y="1189711"/>
            <a:ext cx="5678291" cy="3605212"/>
          </a:xfrm>
        </p:spPr>
        <p:txBody>
          <a:bodyPr>
            <a:normAutofit/>
          </a:bodyPr>
          <a:lstStyle/>
          <a:p>
            <a:pPr marL="0" lvl="2" indent="0">
              <a:buNone/>
            </a:pPr>
            <a:r>
              <a:rPr lang="en-US" dirty="0"/>
              <a:t>Literature indicates that tungsten becomes brittle as a result of irradiation damage</a:t>
            </a:r>
          </a:p>
          <a:p>
            <a:pPr marL="0" lvl="2" indent="0">
              <a:buNone/>
            </a:pPr>
            <a:endParaRPr lang="en-US" dirty="0"/>
          </a:p>
          <a:p>
            <a:pPr marL="0" lvl="2" indent="0">
              <a:buNone/>
            </a:pPr>
            <a:r>
              <a:rPr lang="en-US" dirty="0"/>
              <a:t>We could not reproduce this in our tests on thin wires</a:t>
            </a:r>
          </a:p>
          <a:p>
            <a:pPr marL="0" lvl="2" indent="0">
              <a:buNone/>
            </a:pPr>
            <a:endParaRPr lang="en-US" dirty="0"/>
          </a:p>
          <a:p>
            <a:pPr marL="0" lvl="2" indent="0">
              <a:buNone/>
            </a:pPr>
            <a:endParaRPr lang="de-DE" dirty="0"/>
          </a:p>
          <a:p>
            <a:pPr marL="0" lvl="2" indent="0">
              <a:buNone/>
            </a:pPr>
            <a:endParaRPr lang="en-US" dirty="0"/>
          </a:p>
          <a:p>
            <a:pPr lvl="1" indent="-134541"/>
            <a:r>
              <a:rPr lang="en-US" dirty="0"/>
              <a:t>Experimental verification by targeted implantation of carbon with subsequent mechanical testing</a:t>
            </a:r>
          </a:p>
          <a:p>
            <a:pPr lvl="1" indent="-134541"/>
            <a:endParaRPr lang="de-DE" dirty="0"/>
          </a:p>
          <a:p>
            <a:pPr lvl="1" indent="-134541"/>
            <a:r>
              <a:rPr lang="en-US" dirty="0"/>
              <a:t>A initial experiment showed that it is possible to embrittle the samples using a carbon beam</a:t>
            </a:r>
          </a:p>
          <a:p>
            <a:pPr lvl="2"/>
            <a:endParaRPr lang="de-DE" dirty="0"/>
          </a:p>
          <a:p>
            <a:pPr lvl="1"/>
            <a:endParaRPr lang="en-US" dirty="0"/>
          </a:p>
        </p:txBody>
      </p:sp>
      <p:pic>
        <p:nvPicPr>
          <p:cNvPr id="9" name="Grafik 8">
            <a:extLst>
              <a:ext uri="{FF2B5EF4-FFF2-40B4-BE49-F238E27FC236}">
                <a16:creationId xmlns:a16="http://schemas.microsoft.com/office/drawing/2014/main" id="{C5308769-D4BB-4B1B-8214-C52838012455}"/>
              </a:ext>
            </a:extLst>
          </p:cNvPr>
          <p:cNvPicPr>
            <a:picLocks noChangeAspect="1"/>
          </p:cNvPicPr>
          <p:nvPr/>
        </p:nvPicPr>
        <p:blipFill>
          <a:blip r:embed="rId2"/>
          <a:stretch>
            <a:fillRect/>
          </a:stretch>
        </p:blipFill>
        <p:spPr>
          <a:xfrm>
            <a:off x="6839329" y="982927"/>
            <a:ext cx="1810562" cy="1559762"/>
          </a:xfrm>
          <a:prstGeom prst="rect">
            <a:avLst/>
          </a:prstGeom>
        </p:spPr>
      </p:pic>
      <p:sp>
        <p:nvSpPr>
          <p:cNvPr id="39" name="Textfeld 38">
            <a:extLst>
              <a:ext uri="{FF2B5EF4-FFF2-40B4-BE49-F238E27FC236}">
                <a16:creationId xmlns:a16="http://schemas.microsoft.com/office/drawing/2014/main" id="{5185E84D-2C7D-4E31-A791-A22098C38946}"/>
              </a:ext>
            </a:extLst>
          </p:cNvPr>
          <p:cNvSpPr txBox="1"/>
          <p:nvPr/>
        </p:nvSpPr>
        <p:spPr>
          <a:xfrm>
            <a:off x="6839329" y="2546245"/>
            <a:ext cx="2206976" cy="415498"/>
          </a:xfrm>
          <a:prstGeom prst="rect">
            <a:avLst/>
          </a:prstGeom>
          <a:noFill/>
        </p:spPr>
        <p:txBody>
          <a:bodyPr wrap="square" rtlCol="0">
            <a:spAutoFit/>
          </a:bodyPr>
          <a:lstStyle/>
          <a:p>
            <a:pPr defTabSz="342900"/>
            <a:r>
              <a:rPr lang="de-DE" sz="1050" dirty="0">
                <a:solidFill>
                  <a:srgbClr val="000000"/>
                </a:solidFill>
                <a:latin typeface="Arial" panose="020B0604020202020204"/>
              </a:rPr>
              <a:t>(a) 0.0 dpa   (b) 0.3 dpa</a:t>
            </a:r>
          </a:p>
          <a:p>
            <a:pPr defTabSz="342900"/>
            <a:r>
              <a:rPr lang="de-DE" sz="1050" dirty="0">
                <a:solidFill>
                  <a:srgbClr val="000000"/>
                </a:solidFill>
                <a:latin typeface="Arial" panose="020B0604020202020204"/>
              </a:rPr>
              <a:t>(c) 1.0 dpa   (d) 9.0 dpa</a:t>
            </a:r>
          </a:p>
        </p:txBody>
      </p:sp>
      <p:pic>
        <p:nvPicPr>
          <p:cNvPr id="6" name="Grafik 5">
            <a:extLst>
              <a:ext uri="{FF2B5EF4-FFF2-40B4-BE49-F238E27FC236}">
                <a16:creationId xmlns:a16="http://schemas.microsoft.com/office/drawing/2014/main" id="{E748F5FE-D1A7-4C77-9D78-A95B3EDF2962}"/>
              </a:ext>
            </a:extLst>
          </p:cNvPr>
          <p:cNvPicPr>
            <a:picLocks noChangeAspect="1"/>
          </p:cNvPicPr>
          <p:nvPr/>
        </p:nvPicPr>
        <p:blipFill>
          <a:blip r:embed="rId3"/>
          <a:stretch>
            <a:fillRect/>
          </a:stretch>
        </p:blipFill>
        <p:spPr>
          <a:xfrm rot="5400000">
            <a:off x="6745222" y="2527207"/>
            <a:ext cx="1700573" cy="2763920"/>
          </a:xfrm>
          <a:prstGeom prst="rect">
            <a:avLst/>
          </a:prstGeom>
        </p:spPr>
      </p:pic>
    </p:spTree>
    <p:extLst>
      <p:ext uri="{BB962C8B-B14F-4D97-AF65-F5344CB8AC3E}">
        <p14:creationId xmlns:p14="http://schemas.microsoft.com/office/powerpoint/2010/main" val="12115052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11186F79-9B5E-4DD7-9BFA-51F83A1FBB98}"/>
              </a:ext>
            </a:extLst>
          </p:cNvPr>
          <p:cNvSpPr>
            <a:spLocks noGrp="1"/>
          </p:cNvSpPr>
          <p:nvPr>
            <p:ph type="ftr" sz="quarter" idx="15"/>
          </p:nvPr>
        </p:nvSpPr>
        <p:spPr/>
        <p:txBody>
          <a:bodyPr/>
          <a:lstStyle/>
          <a:p>
            <a:pPr defTabSz="342900"/>
            <a:r>
              <a:rPr lang="en-US">
                <a:solidFill>
                  <a:srgbClr val="000000">
                    <a:tint val="75000"/>
                  </a:srgbClr>
                </a:solidFill>
                <a:latin typeface="Arial" panose="020B0604020202020204"/>
              </a:rPr>
              <a:t>Alexander Feichtmayer | Joint E2/E2M Program Seminar 2024 | Kloster Seeon | 19.03.2024</a:t>
            </a:r>
            <a:endParaRPr lang="de-DE" dirty="0">
              <a:solidFill>
                <a:srgbClr val="000000">
                  <a:tint val="75000"/>
                </a:srgbClr>
              </a:solidFill>
              <a:latin typeface="Arial" panose="020B0604020202020204"/>
            </a:endParaRPr>
          </a:p>
        </p:txBody>
      </p:sp>
      <p:sp>
        <p:nvSpPr>
          <p:cNvPr id="4" name="Foliennummernplatzhalter 3">
            <a:extLst>
              <a:ext uri="{FF2B5EF4-FFF2-40B4-BE49-F238E27FC236}">
                <a16:creationId xmlns:a16="http://schemas.microsoft.com/office/drawing/2014/main" id="{172A937A-990D-4101-9322-8E921C34AADD}"/>
              </a:ext>
            </a:extLst>
          </p:cNvPr>
          <p:cNvSpPr>
            <a:spLocks noGrp="1"/>
          </p:cNvSpPr>
          <p:nvPr>
            <p:ph type="sldNum" sz="quarter" idx="16"/>
          </p:nvPr>
        </p:nvSpPr>
        <p:spPr/>
        <p:txBody>
          <a:bodyPr/>
          <a:lstStyle/>
          <a:p>
            <a:pPr defTabSz="342900"/>
            <a:fld id="{ECE691D0-CC49-4FC7-9C4D-6112B0CB3A76}" type="slidenum">
              <a:rPr lang="de-DE">
                <a:solidFill>
                  <a:srgbClr val="000000">
                    <a:tint val="75000"/>
                  </a:srgbClr>
                </a:solidFill>
                <a:latin typeface="Arial" panose="020B0604020202020204"/>
              </a:rPr>
              <a:pPr defTabSz="342900"/>
              <a:t>23</a:t>
            </a:fld>
            <a:endParaRPr lang="de-DE" dirty="0">
              <a:solidFill>
                <a:srgbClr val="000000">
                  <a:tint val="75000"/>
                </a:srgbClr>
              </a:solidFill>
              <a:latin typeface="Arial" panose="020B0604020202020204"/>
            </a:endParaRPr>
          </a:p>
        </p:txBody>
      </p:sp>
      <p:sp>
        <p:nvSpPr>
          <p:cNvPr id="5" name="Titel 4">
            <a:extLst>
              <a:ext uri="{FF2B5EF4-FFF2-40B4-BE49-F238E27FC236}">
                <a16:creationId xmlns:a16="http://schemas.microsoft.com/office/drawing/2014/main" id="{4CD5E9DC-E0FF-42C8-AA95-9B4B6BA57B90}"/>
              </a:ext>
            </a:extLst>
          </p:cNvPr>
          <p:cNvSpPr>
            <a:spLocks noGrp="1"/>
          </p:cNvSpPr>
          <p:nvPr>
            <p:ph type="title"/>
          </p:nvPr>
        </p:nvSpPr>
        <p:spPr>
          <a:xfrm>
            <a:off x="494110" y="330994"/>
            <a:ext cx="7209738" cy="586979"/>
          </a:xfrm>
        </p:spPr>
        <p:txBody>
          <a:bodyPr/>
          <a:lstStyle/>
          <a:p>
            <a:r>
              <a:rPr lang="en-US" dirty="0"/>
              <a:t>Further plans for which there is not yet a detailed schedule</a:t>
            </a:r>
          </a:p>
        </p:txBody>
      </p:sp>
      <p:sp>
        <p:nvSpPr>
          <p:cNvPr id="34" name="Inhaltsplatzhalter 1">
            <a:extLst>
              <a:ext uri="{FF2B5EF4-FFF2-40B4-BE49-F238E27FC236}">
                <a16:creationId xmlns:a16="http://schemas.microsoft.com/office/drawing/2014/main" id="{C968752F-30C9-4221-968F-E76D4044C488}"/>
              </a:ext>
            </a:extLst>
          </p:cNvPr>
          <p:cNvSpPr>
            <a:spLocks noGrp="1"/>
          </p:cNvSpPr>
          <p:nvPr>
            <p:ph sz="quarter" idx="13"/>
          </p:nvPr>
        </p:nvSpPr>
        <p:spPr>
          <a:xfrm>
            <a:off x="494110" y="1189711"/>
            <a:ext cx="7730918" cy="3605212"/>
          </a:xfrm>
        </p:spPr>
        <p:txBody>
          <a:bodyPr>
            <a:normAutofit/>
          </a:bodyPr>
          <a:lstStyle/>
          <a:p>
            <a:pPr marL="0" lvl="2" indent="0">
              <a:buNone/>
            </a:pPr>
            <a:r>
              <a:rPr lang="en-US" dirty="0"/>
              <a:t>Creep under irradiation (strain measurement required)</a:t>
            </a:r>
          </a:p>
          <a:p>
            <a:pPr marL="0" lvl="2" indent="0">
              <a:buNone/>
            </a:pPr>
            <a:endParaRPr lang="en-US" dirty="0"/>
          </a:p>
          <a:p>
            <a:pPr marL="0" lvl="2" indent="0">
              <a:buNone/>
            </a:pPr>
            <a:r>
              <a:rPr lang="en-US" dirty="0"/>
              <a:t>Determination of the DBTT shift by irradiation (cooling required)</a:t>
            </a:r>
          </a:p>
          <a:p>
            <a:pPr marL="0" lvl="2" indent="0">
              <a:buNone/>
            </a:pPr>
            <a:endParaRPr lang="en-US" dirty="0"/>
          </a:p>
          <a:p>
            <a:pPr marL="0" lvl="2" indent="0">
              <a:buNone/>
            </a:pPr>
            <a:r>
              <a:rPr lang="en-US" dirty="0"/>
              <a:t>Change in microstructure due to thermal loads (heating required)</a:t>
            </a:r>
          </a:p>
          <a:p>
            <a:pPr marL="0" lvl="2" indent="0">
              <a:buNone/>
            </a:pPr>
            <a:endParaRPr lang="de-DE" dirty="0"/>
          </a:p>
          <a:p>
            <a:pPr marL="0" lvl="2" indent="0">
              <a:buNone/>
            </a:pPr>
            <a:r>
              <a:rPr lang="en-US" dirty="0"/>
              <a:t>Embrittlement due to impurities (helium, deuterium, hydrogen)</a:t>
            </a:r>
          </a:p>
          <a:p>
            <a:pPr marL="0" lvl="2" indent="0">
              <a:buNone/>
            </a:pPr>
            <a:endParaRPr lang="en-US" dirty="0"/>
          </a:p>
        </p:txBody>
      </p:sp>
    </p:spTree>
    <p:extLst>
      <p:ext uri="{BB962C8B-B14F-4D97-AF65-F5344CB8AC3E}">
        <p14:creationId xmlns:p14="http://schemas.microsoft.com/office/powerpoint/2010/main" val="26554840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CF191-E091-F8B5-E574-5D830FA69A19}"/>
              </a:ext>
            </a:extLst>
          </p:cNvPr>
          <p:cNvSpPr>
            <a:spLocks noGrp="1"/>
          </p:cNvSpPr>
          <p:nvPr>
            <p:ph type="title"/>
          </p:nvPr>
        </p:nvSpPr>
        <p:spPr/>
        <p:txBody>
          <a:bodyPr/>
          <a:lstStyle/>
          <a:p>
            <a:r>
              <a:rPr lang="en-US" dirty="0"/>
              <a:t>Low Pressure Plasma Spraying of Tungsten</a:t>
            </a:r>
          </a:p>
        </p:txBody>
      </p:sp>
      <p:sp>
        <p:nvSpPr>
          <p:cNvPr id="3" name="Content Placeholder 2">
            <a:extLst>
              <a:ext uri="{FF2B5EF4-FFF2-40B4-BE49-F238E27FC236}">
                <a16:creationId xmlns:a16="http://schemas.microsoft.com/office/drawing/2014/main" id="{819C6351-67D0-A622-C43F-0959F20878C4}"/>
              </a:ext>
            </a:extLst>
          </p:cNvPr>
          <p:cNvSpPr>
            <a:spLocks noGrp="1"/>
          </p:cNvSpPr>
          <p:nvPr>
            <p:ph idx="1"/>
          </p:nvPr>
        </p:nvSpPr>
        <p:spPr>
          <a:xfrm>
            <a:off x="143989" y="897564"/>
            <a:ext cx="4320000" cy="3936745"/>
          </a:xfrm>
          <a:solidFill>
            <a:schemeClr val="tx2"/>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indent="0" defTabSz="342900">
              <a:buNone/>
            </a:pPr>
            <a:endParaRPr lang="en-US" sz="825" dirty="0"/>
          </a:p>
          <a:p>
            <a:pPr marL="342900" lvl="1" defTabSz="342900"/>
            <a:r>
              <a:rPr lang="en-US" sz="825" b="1" dirty="0"/>
              <a:t>Overall: </a:t>
            </a:r>
          </a:p>
          <a:p>
            <a:pPr marL="685800" lvl="2" defTabSz="342900"/>
            <a:r>
              <a:rPr lang="en-US" sz="825" dirty="0"/>
              <a:t>Deposition efficiency ~ 70 %</a:t>
            </a:r>
          </a:p>
          <a:p>
            <a:pPr marL="685800" lvl="2" defTabSz="342900"/>
            <a:r>
              <a:rPr lang="en-US" sz="825" dirty="0"/>
              <a:t>Porosity ~3.5 %</a:t>
            </a:r>
          </a:p>
          <a:p>
            <a:pPr marL="685800" lvl="2" defTabSz="342900"/>
            <a:r>
              <a:rPr lang="en-US" sz="825" dirty="0"/>
              <a:t>PSI-2 samples and mask are prepared</a:t>
            </a:r>
          </a:p>
          <a:p>
            <a:pPr marL="685800" lvl="2" defTabSz="342900"/>
            <a:endParaRPr lang="en-US" sz="825" dirty="0"/>
          </a:p>
          <a:p>
            <a:pPr marL="342900" lvl="1" defTabSz="342900"/>
            <a:r>
              <a:rPr lang="en-US" sz="825" b="1" dirty="0"/>
              <a:t>Coatings on Tungsten substrate: </a:t>
            </a:r>
          </a:p>
          <a:p>
            <a:pPr marL="685800" lvl="2" defTabSz="342900"/>
            <a:r>
              <a:rPr lang="en-US" sz="825" dirty="0"/>
              <a:t>Coating of 400 µm successful produced</a:t>
            </a:r>
          </a:p>
          <a:p>
            <a:pPr marL="685800" lvl="2" defTabSz="342900"/>
            <a:r>
              <a:rPr lang="en-US" sz="825" dirty="0"/>
              <a:t>Compressive Stress ~ 50 </a:t>
            </a:r>
            <a:r>
              <a:rPr lang="en-US" sz="825" dirty="0" err="1"/>
              <a:t>Mpa</a:t>
            </a:r>
            <a:r>
              <a:rPr lang="en-US" sz="825" dirty="0"/>
              <a:t> in coating (XRD)</a:t>
            </a:r>
          </a:p>
          <a:p>
            <a:pPr marL="676275" lvl="3" defTabSz="342900"/>
            <a:endParaRPr lang="en-US" sz="825" b="1" dirty="0"/>
          </a:p>
          <a:p>
            <a:pPr marL="342900" lvl="1" defTabSz="342900"/>
            <a:r>
              <a:rPr lang="en-US" sz="825" b="1" dirty="0"/>
              <a:t>Coatings on </a:t>
            </a:r>
            <a:r>
              <a:rPr lang="en-US" sz="825" b="1" dirty="0" err="1"/>
              <a:t>Eurofer</a:t>
            </a:r>
            <a:r>
              <a:rPr lang="en-US" sz="825" b="1" dirty="0"/>
              <a:t> substrate: </a:t>
            </a:r>
          </a:p>
          <a:p>
            <a:pPr marL="685800" lvl="2" defTabSz="342900"/>
            <a:r>
              <a:rPr lang="en-US" sz="825" dirty="0"/>
              <a:t>Coating of 250 µm successful produced</a:t>
            </a:r>
          </a:p>
          <a:p>
            <a:pPr marL="685800" lvl="2" defTabSz="342900"/>
            <a:r>
              <a:rPr lang="en-US" sz="825" dirty="0"/>
              <a:t>Tensile Stress ~ 150 </a:t>
            </a:r>
            <a:r>
              <a:rPr lang="en-US" sz="825" dirty="0" err="1"/>
              <a:t>Mpa</a:t>
            </a:r>
            <a:r>
              <a:rPr lang="en-US" sz="825" dirty="0"/>
              <a:t> in coating (XRD)</a:t>
            </a:r>
          </a:p>
          <a:p>
            <a:pPr marL="342900" lvl="1" defTabSz="342900"/>
            <a:endParaRPr lang="en-US" sz="825" b="1" dirty="0"/>
          </a:p>
          <a:p>
            <a:pPr marL="342900" lvl="1" defTabSz="342900"/>
            <a:r>
              <a:rPr lang="en-US" sz="825" b="1" dirty="0"/>
              <a:t>Coatings on Carbon Fiber Composite (CFC) substrate: </a:t>
            </a:r>
          </a:p>
          <a:p>
            <a:pPr marL="685800" lvl="2" defTabSz="342900"/>
            <a:r>
              <a:rPr lang="en-US" sz="825" dirty="0"/>
              <a:t>Coating of 150 µm successful produced</a:t>
            </a:r>
          </a:p>
          <a:p>
            <a:pPr marL="685800" lvl="2" defTabSz="342900"/>
            <a:r>
              <a:rPr lang="en-US" sz="825" dirty="0"/>
              <a:t>Further upscaling failed due to residual stresses in coating</a:t>
            </a:r>
          </a:p>
          <a:p>
            <a:pPr marL="857250" lvl="3" defTabSz="342900"/>
            <a:r>
              <a:rPr lang="en-US" sz="825" dirty="0"/>
              <a:t>Increased scanning speed failed</a:t>
            </a:r>
          </a:p>
          <a:p>
            <a:pPr marL="857250" lvl="3" defTabSz="342900"/>
            <a:r>
              <a:rPr lang="en-US" sz="825" dirty="0"/>
              <a:t>Reduce of thermal gradient failed</a:t>
            </a:r>
          </a:p>
          <a:p>
            <a:pPr marL="685800" lvl="2" defTabSz="342900"/>
            <a:endParaRPr lang="en-US" sz="825" dirty="0"/>
          </a:p>
          <a:p>
            <a:pPr marL="685800" lvl="2" defTabSz="342900"/>
            <a:endParaRPr lang="en-US" sz="825" dirty="0"/>
          </a:p>
          <a:p>
            <a:pPr marL="685800" lvl="2" defTabSz="342900"/>
            <a:endParaRPr lang="en-US" sz="825" dirty="0"/>
          </a:p>
          <a:p>
            <a:pPr marL="342900" lvl="1" defTabSz="342900"/>
            <a:endParaRPr lang="en-US" sz="825" dirty="0"/>
          </a:p>
        </p:txBody>
      </p:sp>
      <p:sp>
        <p:nvSpPr>
          <p:cNvPr id="9" name="Content Placeholder 2">
            <a:extLst>
              <a:ext uri="{FF2B5EF4-FFF2-40B4-BE49-F238E27FC236}">
                <a16:creationId xmlns:a16="http://schemas.microsoft.com/office/drawing/2014/main" id="{20B4AC9C-B814-FCC1-AB8E-D948D6FAC683}"/>
              </a:ext>
            </a:extLst>
          </p:cNvPr>
          <p:cNvSpPr txBox="1">
            <a:spLocks/>
          </p:cNvSpPr>
          <p:nvPr/>
        </p:nvSpPr>
        <p:spPr>
          <a:xfrm>
            <a:off x="4680012" y="891872"/>
            <a:ext cx="4320000" cy="3942437"/>
          </a:xfrm>
          <a:prstGeom prst="rect">
            <a:avLst/>
          </a:prstGeom>
          <a:solidFill>
            <a:schemeClr val="accent1">
              <a:lumMod val="75000"/>
            </a:schemeClr>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lvl1pPr indent="0">
              <a:lnSpc>
                <a:spcPct val="114000"/>
              </a:lnSpc>
              <a:spcBef>
                <a:spcPts val="0"/>
              </a:spcBef>
              <a:spcAft>
                <a:spcPts val="600"/>
              </a:spcAft>
              <a:buFont typeface="Calibri" panose="020F0502020204030204" pitchFamily="34" charset="0"/>
              <a:buNone/>
              <a:defRPr sz="1200">
                <a:solidFill>
                  <a:schemeClr val="lt1"/>
                </a:solidFill>
              </a:defRPr>
            </a:lvl1pPr>
            <a:lvl2pPr lvl="1" indent="-234950">
              <a:lnSpc>
                <a:spcPct val="114000"/>
              </a:lnSpc>
              <a:spcBef>
                <a:spcPts val="0"/>
              </a:spcBef>
              <a:spcAft>
                <a:spcPts val="600"/>
              </a:spcAft>
              <a:buFont typeface="Calibri" panose="020F0502020204030204" pitchFamily="34" charset="0"/>
              <a:buChar char="•"/>
              <a:defRPr sz="1200">
                <a:solidFill>
                  <a:schemeClr val="lt1"/>
                </a:solidFill>
              </a:defRPr>
            </a:lvl2pPr>
            <a:lvl3pPr lvl="2" indent="-215900">
              <a:lnSpc>
                <a:spcPct val="114000"/>
              </a:lnSpc>
              <a:spcBef>
                <a:spcPts val="0"/>
              </a:spcBef>
              <a:spcAft>
                <a:spcPts val="600"/>
              </a:spcAft>
              <a:buFont typeface="Calibri" panose="020F0502020204030204" pitchFamily="34" charset="0"/>
              <a:buChar char="•"/>
              <a:defRPr sz="1200">
                <a:solidFill>
                  <a:schemeClr val="lt1"/>
                </a:solidFill>
              </a:defRPr>
            </a:lvl3pPr>
            <a:lvl4pPr marL="895350" indent="-215900" defTabSz="914400">
              <a:lnSpc>
                <a:spcPct val="114000"/>
              </a:lnSpc>
              <a:spcBef>
                <a:spcPts val="0"/>
              </a:spcBef>
              <a:spcAft>
                <a:spcPts val="600"/>
              </a:spcAft>
              <a:buFont typeface="Calibri" panose="020F0502020204030204" pitchFamily="34" charset="0"/>
              <a:buChar char="•"/>
              <a:defRPr sz="2200">
                <a:solidFill>
                  <a:schemeClr val="lt1"/>
                </a:solidFill>
              </a:defRPr>
            </a:lvl4pPr>
            <a:lvl5pPr marL="1117600" indent="-215900" defTabSz="914400">
              <a:lnSpc>
                <a:spcPct val="114000"/>
              </a:lnSpc>
              <a:spcBef>
                <a:spcPts val="0"/>
              </a:spcBef>
              <a:spcAft>
                <a:spcPts val="600"/>
              </a:spcAft>
              <a:buFont typeface="Calibri" panose="020F0502020204030204" pitchFamily="34" charset="0"/>
              <a:buChar char="•"/>
              <a:defRPr sz="2200">
                <a:solidFill>
                  <a:schemeClr val="lt1"/>
                </a:solidFill>
              </a:defRPr>
            </a:lvl5pPr>
            <a:lvl6pPr marL="2514600" indent="-228600" defTabSz="914400">
              <a:lnSpc>
                <a:spcPct val="90000"/>
              </a:lnSpc>
              <a:spcBef>
                <a:spcPts val="500"/>
              </a:spcBef>
              <a:buFont typeface="Arial" panose="020B0604020202020204" pitchFamily="34" charset="0"/>
              <a:buChar char="•"/>
              <a:defRPr>
                <a:solidFill>
                  <a:schemeClr val="lt1"/>
                </a:solidFill>
              </a:defRPr>
            </a:lvl6pPr>
            <a:lvl7pPr marL="2971800" indent="-228600" defTabSz="914400">
              <a:lnSpc>
                <a:spcPct val="90000"/>
              </a:lnSpc>
              <a:spcBef>
                <a:spcPts val="500"/>
              </a:spcBef>
              <a:buFont typeface="Arial" panose="020B0604020202020204" pitchFamily="34" charset="0"/>
              <a:buChar char="•"/>
              <a:defRPr>
                <a:solidFill>
                  <a:schemeClr val="lt1"/>
                </a:solidFill>
              </a:defRPr>
            </a:lvl7pPr>
            <a:lvl8pPr marL="3429000" indent="-228600" defTabSz="914400">
              <a:lnSpc>
                <a:spcPct val="90000"/>
              </a:lnSpc>
              <a:spcBef>
                <a:spcPts val="500"/>
              </a:spcBef>
              <a:buFont typeface="Arial" panose="020B0604020202020204" pitchFamily="34" charset="0"/>
              <a:buChar char="•"/>
              <a:defRPr>
                <a:solidFill>
                  <a:schemeClr val="lt1"/>
                </a:solidFill>
              </a:defRPr>
            </a:lvl8pPr>
            <a:lvl9pPr marL="3886200" indent="-228600" defTabSz="914400">
              <a:lnSpc>
                <a:spcPct val="90000"/>
              </a:lnSpc>
              <a:spcBef>
                <a:spcPts val="500"/>
              </a:spcBef>
              <a:buFont typeface="Arial" panose="020B0604020202020204" pitchFamily="34" charset="0"/>
              <a:buChar char="•"/>
              <a:defRPr>
                <a:solidFill>
                  <a:schemeClr val="lt1"/>
                </a:solidFill>
              </a:defRPr>
            </a:lvl9pPr>
          </a:lstStyle>
          <a:p>
            <a:pPr marL="685800" lvl="2" indent="-161925" defTabSz="342900">
              <a:spcAft>
                <a:spcPts val="450"/>
              </a:spcAft>
            </a:pPr>
            <a:endParaRPr lang="en-US" sz="825" dirty="0">
              <a:solidFill>
                <a:srgbClr val="FFFFFF"/>
              </a:solidFill>
              <a:latin typeface="Arial"/>
            </a:endParaRPr>
          </a:p>
          <a:p>
            <a:pPr marL="342900" lvl="1" indent="-176213" defTabSz="342900">
              <a:spcAft>
                <a:spcPts val="450"/>
              </a:spcAft>
            </a:pPr>
            <a:r>
              <a:rPr lang="en-US" sz="825" b="1" dirty="0">
                <a:solidFill>
                  <a:srgbClr val="FFFFFF"/>
                </a:solidFill>
                <a:latin typeface="Arial"/>
              </a:rPr>
              <a:t>Coatings on CFC substrate:</a:t>
            </a:r>
          </a:p>
          <a:p>
            <a:pPr marL="685800" lvl="2" indent="-161925" defTabSz="342900">
              <a:spcAft>
                <a:spcPts val="450"/>
              </a:spcAft>
            </a:pPr>
            <a:r>
              <a:rPr lang="en-US" sz="825" dirty="0">
                <a:solidFill>
                  <a:srgbClr val="FFFFFF"/>
                </a:solidFill>
                <a:latin typeface="Arial"/>
              </a:rPr>
              <a:t>Further upscaling experiments e.g. stronger pre-heating of substrate</a:t>
            </a:r>
          </a:p>
          <a:p>
            <a:pPr marL="685800" lvl="2" indent="-161925" defTabSz="342900">
              <a:spcAft>
                <a:spcPts val="450"/>
              </a:spcAft>
            </a:pPr>
            <a:r>
              <a:rPr lang="en-US" sz="825" dirty="0">
                <a:solidFill>
                  <a:srgbClr val="FFFFFF"/>
                </a:solidFill>
                <a:latin typeface="Arial"/>
              </a:rPr>
              <a:t>Investigation of possible ductile interlayer</a:t>
            </a:r>
          </a:p>
          <a:p>
            <a:pPr marL="685800" lvl="2" indent="-161925" defTabSz="342900">
              <a:spcAft>
                <a:spcPts val="450"/>
              </a:spcAft>
            </a:pPr>
            <a:r>
              <a:rPr lang="en-US" sz="825" dirty="0">
                <a:solidFill>
                  <a:srgbClr val="FFFFFF"/>
                </a:solidFill>
                <a:latin typeface="Arial"/>
              </a:rPr>
              <a:t>Reduction of powder federate for thinner layer thickness</a:t>
            </a:r>
          </a:p>
          <a:p>
            <a:pPr marL="342900" lvl="1" indent="-176213" defTabSz="342900">
              <a:spcAft>
                <a:spcPts val="450"/>
              </a:spcAft>
            </a:pPr>
            <a:endParaRPr lang="en-US" sz="825" b="1" dirty="0">
              <a:solidFill>
                <a:srgbClr val="FFFFFF"/>
              </a:solidFill>
              <a:latin typeface="Arial"/>
            </a:endParaRPr>
          </a:p>
          <a:p>
            <a:pPr marL="342900" lvl="1" indent="-176213" defTabSz="342900">
              <a:spcAft>
                <a:spcPts val="450"/>
              </a:spcAft>
            </a:pPr>
            <a:r>
              <a:rPr lang="en-US" sz="825" b="1" dirty="0">
                <a:solidFill>
                  <a:srgbClr val="FFFFFF"/>
                </a:solidFill>
                <a:latin typeface="Arial"/>
              </a:rPr>
              <a:t>Coatings on </a:t>
            </a:r>
            <a:r>
              <a:rPr lang="en-US" sz="825" b="1" dirty="0" err="1">
                <a:solidFill>
                  <a:srgbClr val="FFFFFF"/>
                </a:solidFill>
                <a:latin typeface="Arial"/>
              </a:rPr>
              <a:t>Eurofer</a:t>
            </a:r>
            <a:r>
              <a:rPr lang="en-US" sz="825" b="1" dirty="0">
                <a:solidFill>
                  <a:srgbClr val="FFFFFF"/>
                </a:solidFill>
                <a:latin typeface="Arial"/>
              </a:rPr>
              <a:t> substrate: </a:t>
            </a:r>
          </a:p>
          <a:p>
            <a:pPr marL="685800" lvl="2" indent="-161925" defTabSz="342900">
              <a:spcAft>
                <a:spcPts val="450"/>
              </a:spcAft>
            </a:pPr>
            <a:r>
              <a:rPr lang="en-US" sz="825" dirty="0">
                <a:solidFill>
                  <a:srgbClr val="FFFFFF"/>
                </a:solidFill>
                <a:latin typeface="Arial"/>
              </a:rPr>
              <a:t>Production of coating of 400 µm</a:t>
            </a:r>
          </a:p>
          <a:p>
            <a:pPr marL="342900" lvl="1" indent="-176213" defTabSz="342900">
              <a:spcAft>
                <a:spcPts val="450"/>
              </a:spcAft>
            </a:pPr>
            <a:endParaRPr lang="en-US" sz="825" b="1" dirty="0">
              <a:solidFill>
                <a:srgbClr val="FFFFFF"/>
              </a:solidFill>
              <a:latin typeface="Arial"/>
            </a:endParaRPr>
          </a:p>
          <a:p>
            <a:pPr marL="342900" lvl="1" indent="-176213" defTabSz="342900">
              <a:spcAft>
                <a:spcPts val="450"/>
              </a:spcAft>
            </a:pPr>
            <a:r>
              <a:rPr lang="en-US" sz="825" b="1" dirty="0">
                <a:solidFill>
                  <a:srgbClr val="FFFFFF"/>
                </a:solidFill>
                <a:latin typeface="Arial"/>
              </a:rPr>
              <a:t>Overall:</a:t>
            </a:r>
          </a:p>
          <a:p>
            <a:pPr marL="685800" lvl="2" indent="-161925" defTabSz="342900">
              <a:spcAft>
                <a:spcPts val="450"/>
              </a:spcAft>
            </a:pPr>
            <a:r>
              <a:rPr lang="en-GB" sz="825" dirty="0">
                <a:solidFill>
                  <a:srgbClr val="FFFFFF"/>
                </a:solidFill>
                <a:latin typeface="Arial"/>
              </a:rPr>
              <a:t>Expose successful samples to high temperature in "oven tests" to sort out and minimise high heat load tests </a:t>
            </a:r>
          </a:p>
          <a:p>
            <a:pPr marL="685800" lvl="2" indent="-161925" defTabSz="342900">
              <a:spcAft>
                <a:spcPts val="450"/>
              </a:spcAft>
            </a:pPr>
            <a:r>
              <a:rPr lang="en-US" sz="825" dirty="0">
                <a:solidFill>
                  <a:srgbClr val="FFFFFF"/>
                </a:solidFill>
                <a:latin typeface="Arial"/>
              </a:rPr>
              <a:t>Coating PSI-2 samples for plasma exposure</a:t>
            </a:r>
          </a:p>
          <a:p>
            <a:pPr marL="685800" lvl="2" indent="-161925" defTabSz="342900">
              <a:spcAft>
                <a:spcPts val="450"/>
              </a:spcAft>
            </a:pPr>
            <a:r>
              <a:rPr lang="en-US" sz="825" dirty="0">
                <a:solidFill>
                  <a:srgbClr val="FFFFFF"/>
                </a:solidFill>
                <a:latin typeface="Arial"/>
              </a:rPr>
              <a:t>Coating Magnum-PSI samples for plasma exposure</a:t>
            </a:r>
          </a:p>
          <a:p>
            <a:pPr marL="685800" lvl="2" indent="-161925" defTabSz="342900">
              <a:spcAft>
                <a:spcPts val="450"/>
              </a:spcAft>
            </a:pPr>
            <a:r>
              <a:rPr lang="en-US" sz="825" dirty="0">
                <a:solidFill>
                  <a:srgbClr val="FFFFFF"/>
                </a:solidFill>
                <a:latin typeface="Arial"/>
              </a:rPr>
              <a:t>Dialogue with University of Alberta for AI based defect detection and path planning</a:t>
            </a:r>
          </a:p>
          <a:p>
            <a:pPr marL="685800" lvl="2" indent="-161925" defTabSz="342900">
              <a:spcAft>
                <a:spcPts val="450"/>
              </a:spcAft>
            </a:pPr>
            <a:endParaRPr lang="en-US" sz="825" dirty="0">
              <a:solidFill>
                <a:srgbClr val="FFFFFF"/>
              </a:solidFill>
              <a:latin typeface="Arial"/>
            </a:endParaRPr>
          </a:p>
          <a:p>
            <a:pPr marL="685800" lvl="2" indent="-161925" defTabSz="342900">
              <a:spcAft>
                <a:spcPts val="450"/>
              </a:spcAft>
            </a:pPr>
            <a:endParaRPr lang="en-US" sz="825" dirty="0">
              <a:solidFill>
                <a:srgbClr val="FFFFFF"/>
              </a:solidFill>
              <a:latin typeface="Arial"/>
            </a:endParaRPr>
          </a:p>
          <a:p>
            <a:pPr marL="685800" lvl="2" indent="-161925" defTabSz="342900">
              <a:spcAft>
                <a:spcPts val="450"/>
              </a:spcAft>
            </a:pPr>
            <a:endParaRPr lang="en-US" sz="825" b="1" dirty="0">
              <a:solidFill>
                <a:srgbClr val="FFFFFF"/>
              </a:solidFill>
              <a:latin typeface="Arial"/>
            </a:endParaRPr>
          </a:p>
          <a:p>
            <a:pPr marL="685800" lvl="2" indent="-161925" defTabSz="342900">
              <a:spcAft>
                <a:spcPts val="450"/>
              </a:spcAft>
            </a:pPr>
            <a:endParaRPr lang="en-US" sz="825" b="1" dirty="0">
              <a:solidFill>
                <a:srgbClr val="FFFFFF"/>
              </a:solidFill>
              <a:latin typeface="Arial"/>
            </a:endParaRPr>
          </a:p>
          <a:p>
            <a:pPr marL="685800" lvl="2" indent="-161925" defTabSz="342900">
              <a:spcAft>
                <a:spcPts val="450"/>
              </a:spcAft>
            </a:pPr>
            <a:endParaRPr lang="en-US" sz="825" b="1" dirty="0">
              <a:solidFill>
                <a:srgbClr val="FFFFFF"/>
              </a:solidFill>
              <a:latin typeface="Arial"/>
            </a:endParaRPr>
          </a:p>
          <a:p>
            <a:pPr marL="685800" lvl="2" indent="-161925" defTabSz="342900">
              <a:spcAft>
                <a:spcPts val="450"/>
              </a:spcAft>
            </a:pPr>
            <a:endParaRPr lang="en-US" sz="825" b="1" dirty="0">
              <a:solidFill>
                <a:srgbClr val="FFFFFF"/>
              </a:solidFill>
              <a:latin typeface="Arial"/>
            </a:endParaRPr>
          </a:p>
          <a:p>
            <a:pPr marL="685800" lvl="2" indent="-161925" defTabSz="342900">
              <a:spcAft>
                <a:spcPts val="450"/>
              </a:spcAft>
            </a:pPr>
            <a:endParaRPr lang="en-US" sz="825" dirty="0">
              <a:solidFill>
                <a:srgbClr val="FFFFFF"/>
              </a:solidFill>
              <a:latin typeface="Arial"/>
            </a:endParaRPr>
          </a:p>
          <a:p>
            <a:pPr marL="685800" lvl="2" indent="-161925" defTabSz="342900">
              <a:spcAft>
                <a:spcPts val="450"/>
              </a:spcAft>
            </a:pPr>
            <a:endParaRPr lang="en-US" sz="825" dirty="0">
              <a:solidFill>
                <a:srgbClr val="FFFFFF"/>
              </a:solidFill>
              <a:latin typeface="Arial"/>
            </a:endParaRPr>
          </a:p>
          <a:p>
            <a:pPr marL="342900" lvl="1" indent="-176213" defTabSz="342900">
              <a:spcAft>
                <a:spcPts val="450"/>
              </a:spcAft>
            </a:pPr>
            <a:endParaRPr lang="en-US" sz="825" dirty="0">
              <a:solidFill>
                <a:srgbClr val="FFFFFF"/>
              </a:solidFill>
              <a:latin typeface="Arial"/>
            </a:endParaRPr>
          </a:p>
        </p:txBody>
      </p:sp>
      <p:sp>
        <p:nvSpPr>
          <p:cNvPr id="10" name="Rechteck 28">
            <a:extLst>
              <a:ext uri="{FF2B5EF4-FFF2-40B4-BE49-F238E27FC236}">
                <a16:creationId xmlns:a16="http://schemas.microsoft.com/office/drawing/2014/main" id="{8611B944-05AF-087E-D0C9-3E5414FC7D5B}"/>
              </a:ext>
            </a:extLst>
          </p:cNvPr>
          <p:cNvSpPr/>
          <p:nvPr/>
        </p:nvSpPr>
        <p:spPr>
          <a:xfrm>
            <a:off x="143988" y="639650"/>
            <a:ext cx="4320000" cy="252222"/>
          </a:xfrm>
          <a:prstGeom prst="rect">
            <a:avLst/>
          </a:prstGeom>
          <a:solidFill>
            <a:srgbClr val="7696AF"/>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lnSpc>
                <a:spcPct val="95000"/>
              </a:lnSpc>
            </a:pPr>
            <a:r>
              <a:rPr lang="en-US" sz="1350" dirty="0">
                <a:solidFill>
                  <a:srgbClr val="FFFFFF"/>
                </a:solidFill>
                <a:latin typeface="Arial"/>
              </a:rPr>
              <a:t>Status</a:t>
            </a:r>
          </a:p>
        </p:txBody>
      </p:sp>
      <p:sp>
        <p:nvSpPr>
          <p:cNvPr id="11" name="Rechteck 28">
            <a:extLst>
              <a:ext uri="{FF2B5EF4-FFF2-40B4-BE49-F238E27FC236}">
                <a16:creationId xmlns:a16="http://schemas.microsoft.com/office/drawing/2014/main" id="{B7A9A186-57E3-237E-694A-965B838C32B0}"/>
              </a:ext>
            </a:extLst>
          </p:cNvPr>
          <p:cNvSpPr/>
          <p:nvPr/>
        </p:nvSpPr>
        <p:spPr>
          <a:xfrm>
            <a:off x="4680012" y="639650"/>
            <a:ext cx="4320000" cy="252222"/>
          </a:xfrm>
          <a:prstGeom prst="rect">
            <a:avLst/>
          </a:prstGeom>
          <a:solidFill>
            <a:srgbClr val="7696AF"/>
          </a:solidFill>
          <a:ln>
            <a:solidFill>
              <a:srgbClr val="FFFFFF"/>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342900">
              <a:lnSpc>
                <a:spcPct val="95000"/>
              </a:lnSpc>
            </a:pPr>
            <a:r>
              <a:rPr lang="en-US" sz="1350" dirty="0">
                <a:solidFill>
                  <a:srgbClr val="FFFFFF"/>
                </a:solidFill>
                <a:latin typeface="Arial"/>
              </a:rPr>
              <a:t>Next steps</a:t>
            </a:r>
          </a:p>
        </p:txBody>
      </p:sp>
    </p:spTree>
    <p:extLst>
      <p:ext uri="{BB962C8B-B14F-4D97-AF65-F5344CB8AC3E}">
        <p14:creationId xmlns:p14="http://schemas.microsoft.com/office/powerpoint/2010/main" val="905549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4</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a:solidFill>
                  <a:srgbClr val="E3E3E3"/>
                </a:solidFill>
              </a:rPr>
              <a:t>Planning</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14514020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638112-A946-CADF-FDF1-F3DD416C08CC}"/>
              </a:ext>
            </a:extLst>
          </p:cNvPr>
          <p:cNvSpPr>
            <a:spLocks noGrp="1"/>
          </p:cNvSpPr>
          <p:nvPr>
            <p:ph type="title"/>
          </p:nvPr>
        </p:nvSpPr>
        <p:spPr/>
        <p:txBody>
          <a:bodyPr/>
          <a:lstStyle/>
          <a:p>
            <a:r>
              <a:rPr lang="en-GB" dirty="0"/>
              <a:t>SPA 4</a:t>
            </a:r>
          </a:p>
        </p:txBody>
      </p:sp>
      <p:sp>
        <p:nvSpPr>
          <p:cNvPr id="8" name="Textfeld 7">
            <a:extLst>
              <a:ext uri="{FF2B5EF4-FFF2-40B4-BE49-F238E27FC236}">
                <a16:creationId xmlns:a16="http://schemas.microsoft.com/office/drawing/2014/main" id="{C785D113-9C99-96CA-A696-F750319EC538}"/>
              </a:ext>
            </a:extLst>
          </p:cNvPr>
          <p:cNvSpPr txBox="1"/>
          <p:nvPr/>
        </p:nvSpPr>
        <p:spPr>
          <a:xfrm>
            <a:off x="251520" y="669446"/>
            <a:ext cx="4663980" cy="646331"/>
          </a:xfrm>
          <a:prstGeom prst="rect">
            <a:avLst/>
          </a:prstGeom>
          <a:noFill/>
        </p:spPr>
        <p:txBody>
          <a:bodyPr wrap="square">
            <a:spAutoFit/>
          </a:bodyPr>
          <a:lstStyle/>
          <a:p>
            <a:r>
              <a:rPr lang="en-US" sz="1800" dirty="0">
                <a:solidFill>
                  <a:srgbClr val="000000"/>
                </a:solidFill>
                <a:effectLst/>
                <a:latin typeface="Calibri" panose="020F0502020204030204" pitchFamily="34" charset="0"/>
                <a:ea typeface="SimSun" panose="02010600030101010101" pitchFamily="2" charset="-122"/>
              </a:rPr>
              <a:t>SP A.4 / High Temperature performance of </a:t>
            </a:r>
            <a:r>
              <a:rPr lang="en-US" sz="1800" dirty="0" err="1">
                <a:solidFill>
                  <a:srgbClr val="000000"/>
                </a:solidFill>
                <a:effectLst/>
                <a:latin typeface="Calibri" panose="020F0502020204030204" pitchFamily="34" charset="0"/>
                <a:ea typeface="SimSun" panose="02010600030101010101" pitchFamily="2" charset="-122"/>
              </a:rPr>
              <a:t>Armour</a:t>
            </a:r>
            <a:r>
              <a:rPr lang="en-US" sz="1800" dirty="0">
                <a:solidFill>
                  <a:srgbClr val="000000"/>
                </a:solidFill>
                <a:effectLst/>
                <a:latin typeface="Calibri" panose="020F0502020204030204" pitchFamily="34" charset="0"/>
                <a:ea typeface="SimSun" panose="02010600030101010101" pitchFamily="2" charset="-122"/>
              </a:rPr>
              <a:t> Materials: Recrystallization and Melting</a:t>
            </a:r>
            <a:r>
              <a:rPr lang="de-DE" dirty="0">
                <a:effectLst/>
              </a:rPr>
              <a:t> </a:t>
            </a:r>
            <a:endParaRPr lang="en-GB" dirty="0"/>
          </a:p>
        </p:txBody>
      </p:sp>
      <p:pic>
        <p:nvPicPr>
          <p:cNvPr id="4" name="Grafik 3">
            <a:extLst>
              <a:ext uri="{FF2B5EF4-FFF2-40B4-BE49-F238E27FC236}">
                <a16:creationId xmlns:a16="http://schemas.microsoft.com/office/drawing/2014/main" id="{22B855B0-BDA4-FEE3-DB01-90251C330A10}"/>
              </a:ext>
            </a:extLst>
          </p:cNvPr>
          <p:cNvPicPr>
            <a:picLocks noChangeAspect="1"/>
          </p:cNvPicPr>
          <p:nvPr/>
        </p:nvPicPr>
        <p:blipFill>
          <a:blip r:embed="rId2"/>
          <a:stretch>
            <a:fillRect/>
          </a:stretch>
        </p:blipFill>
        <p:spPr>
          <a:xfrm>
            <a:off x="5798368" y="2931790"/>
            <a:ext cx="3094112" cy="1567562"/>
          </a:xfrm>
          <a:prstGeom prst="rect">
            <a:avLst/>
          </a:prstGeom>
        </p:spPr>
      </p:pic>
      <p:graphicFrame>
        <p:nvGraphicFramePr>
          <p:cNvPr id="7" name="Tabelle 6">
            <a:extLst>
              <a:ext uri="{FF2B5EF4-FFF2-40B4-BE49-F238E27FC236}">
                <a16:creationId xmlns:a16="http://schemas.microsoft.com/office/drawing/2014/main" id="{5F3F230A-DFB7-9321-E222-9FB77CBB4EBF}"/>
              </a:ext>
            </a:extLst>
          </p:cNvPr>
          <p:cNvGraphicFramePr>
            <a:graphicFrameLocks noGrp="1"/>
          </p:cNvGraphicFramePr>
          <p:nvPr>
            <p:extLst>
              <p:ext uri="{D42A27DB-BD31-4B8C-83A1-F6EECF244321}">
                <p14:modId xmlns:p14="http://schemas.microsoft.com/office/powerpoint/2010/main" val="3387704331"/>
              </p:ext>
            </p:extLst>
          </p:nvPr>
        </p:nvGraphicFramePr>
        <p:xfrm>
          <a:off x="251520" y="1301966"/>
          <a:ext cx="5433695" cy="1810386"/>
        </p:xfrm>
        <a:graphic>
          <a:graphicData uri="http://schemas.openxmlformats.org/drawingml/2006/table">
            <a:tbl>
              <a:tblPr firstRow="1" firstCol="1" bandRow="1">
                <a:tableStyleId>{5C22544A-7EE6-4342-B048-85BDC9FD1C3A}</a:tableStyleId>
              </a:tblPr>
              <a:tblGrid>
                <a:gridCol w="1191895">
                  <a:extLst>
                    <a:ext uri="{9D8B030D-6E8A-4147-A177-3AD203B41FA5}">
                      <a16:colId xmlns:a16="http://schemas.microsoft.com/office/drawing/2014/main" val="951310558"/>
                    </a:ext>
                  </a:extLst>
                </a:gridCol>
                <a:gridCol w="774700">
                  <a:extLst>
                    <a:ext uri="{9D8B030D-6E8A-4147-A177-3AD203B41FA5}">
                      <a16:colId xmlns:a16="http://schemas.microsoft.com/office/drawing/2014/main" val="3641858916"/>
                    </a:ext>
                  </a:extLst>
                </a:gridCol>
                <a:gridCol w="711200">
                  <a:extLst>
                    <a:ext uri="{9D8B030D-6E8A-4147-A177-3AD203B41FA5}">
                      <a16:colId xmlns:a16="http://schemas.microsoft.com/office/drawing/2014/main" val="2339854535"/>
                    </a:ext>
                  </a:extLst>
                </a:gridCol>
                <a:gridCol w="2755900">
                  <a:extLst>
                    <a:ext uri="{9D8B030D-6E8A-4147-A177-3AD203B41FA5}">
                      <a16:colId xmlns:a16="http://schemas.microsoft.com/office/drawing/2014/main" val="1049502443"/>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71336957"/>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b="0" spc="-15" dirty="0" err="1">
                          <a:solidFill>
                            <a:srgbClr val="FF0000"/>
                          </a:solidFill>
                          <a:effectLst/>
                        </a:rPr>
                        <a:t>A.Durif</a:t>
                      </a:r>
                      <a:endParaRPr lang="de-DE" sz="1100" b="0" dirty="0">
                        <a:solidFill>
                          <a:srgbClr val="FF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CE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28030518"/>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W. Pantleo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TU</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539438056"/>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S. Ratynska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1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pPr>
                      <a:r>
                        <a:rPr lang="en-US" sz="1100" dirty="0">
                          <a:effectLst/>
                        </a:rPr>
                        <a:t>D003 (</a:t>
                      </a:r>
                      <a:r>
                        <a:rPr lang="en-US" sz="1100" dirty="0" err="1">
                          <a:effectLst/>
                        </a:rPr>
                        <a:t>S.Ratynskaia</a:t>
                      </a:r>
                      <a:r>
                        <a:rPr lang="en-US" sz="1100" dirty="0">
                          <a:effectLst/>
                        </a:rPr>
                        <a:t>, </a:t>
                      </a:r>
                      <a:r>
                        <a:rPr lang="en-US" sz="1100" dirty="0" err="1">
                          <a:effectLst/>
                        </a:rPr>
                        <a:t>P.Tolias</a:t>
                      </a:r>
                      <a:r>
                        <a:rPr lang="en-US" sz="1100" dirty="0">
                          <a:effectLst/>
                        </a:rPr>
                        <a:t>, L.V. </a:t>
                      </a:r>
                      <a:r>
                        <a:rPr lang="en-US" sz="1100" dirty="0" err="1">
                          <a:effectLst/>
                        </a:rPr>
                        <a:t>Ignitchouk</a:t>
                      </a:r>
                      <a:r>
                        <a:rPr lang="en-US" sz="1100" dirty="0">
                          <a:effectLst/>
                        </a:rPr>
                        <a:t> F. Castello)</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681541993"/>
                  </a:ext>
                </a:extLst>
              </a:tr>
              <a:tr h="39370">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30</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46015826"/>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 Rasinsk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de-DE" sz="1100">
                          <a:effectLst/>
                        </a:rPr>
                        <a:t>D005 ( M. Rasinski, A. Kreter, M. Voge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43640277"/>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S. Ratynskai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V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7,8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6 (2023 Trans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90476148"/>
                  </a:ext>
                </a:extLst>
              </a:tr>
              <a:tr h="22034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67,8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475831179"/>
                  </a:ext>
                </a:extLst>
              </a:tr>
            </a:tbl>
          </a:graphicData>
        </a:graphic>
      </p:graphicFrame>
      <p:sp>
        <p:nvSpPr>
          <p:cNvPr id="3" name="Fußzeilenplatzhalter 3">
            <a:extLst>
              <a:ext uri="{FF2B5EF4-FFF2-40B4-BE49-F238E27FC236}">
                <a16:creationId xmlns:a16="http://schemas.microsoft.com/office/drawing/2014/main" id="{59377546-524A-CAED-2FD9-539E77080DB2}"/>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26</a:t>
            </a:fld>
            <a:endParaRPr lang="en-GB" dirty="0"/>
          </a:p>
        </p:txBody>
      </p:sp>
      <p:sp>
        <p:nvSpPr>
          <p:cNvPr id="5" name="Textfeld 4">
            <a:extLst>
              <a:ext uri="{FF2B5EF4-FFF2-40B4-BE49-F238E27FC236}">
                <a16:creationId xmlns:a16="http://schemas.microsoft.com/office/drawing/2014/main" id="{2CAF2B8F-65F0-1195-1B4E-BFE840FB245B}"/>
              </a:ext>
            </a:extLst>
          </p:cNvPr>
          <p:cNvSpPr txBox="1"/>
          <p:nvPr/>
        </p:nvSpPr>
        <p:spPr>
          <a:xfrm>
            <a:off x="6588224" y="1203598"/>
            <a:ext cx="2041328" cy="369332"/>
          </a:xfrm>
          <a:prstGeom prst="rect">
            <a:avLst/>
          </a:prstGeom>
          <a:noFill/>
        </p:spPr>
        <p:txBody>
          <a:bodyPr wrap="none" rtlCol="0">
            <a:spAutoFit/>
          </a:bodyPr>
          <a:lstStyle/>
          <a:p>
            <a:r>
              <a:rPr lang="en-GB" dirty="0"/>
              <a:t>Talk by </a:t>
            </a:r>
            <a:r>
              <a:rPr lang="en-GB" dirty="0" err="1"/>
              <a:t>S.Ratynskaia</a:t>
            </a:r>
            <a:endParaRPr lang="en-GB" dirty="0"/>
          </a:p>
        </p:txBody>
      </p:sp>
    </p:spTree>
    <p:extLst>
      <p:ext uri="{BB962C8B-B14F-4D97-AF65-F5344CB8AC3E}">
        <p14:creationId xmlns:p14="http://schemas.microsoft.com/office/powerpoint/2010/main" val="10030503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609" y="82253"/>
            <a:ext cx="8306017" cy="342900"/>
          </a:xfrm>
        </p:spPr>
        <p:txBody>
          <a:bodyPr/>
          <a:lstStyle/>
          <a:p>
            <a:r>
              <a:rPr lang="en-US" sz="1400" dirty="0">
                <a:solidFill>
                  <a:srgbClr val="000000"/>
                </a:solidFill>
                <a:latin typeface="Calibri" panose="020F0502020204030204" pitchFamily="34" charset="0"/>
                <a:ea typeface="SimSun" panose="02010600030101010101" pitchFamily="2" charset="-122"/>
              </a:rPr>
              <a:t>SP A.4 High Temperature performance of </a:t>
            </a:r>
            <a:r>
              <a:rPr lang="en-US" sz="1400" dirty="0" err="1">
                <a:solidFill>
                  <a:srgbClr val="000000"/>
                </a:solidFill>
                <a:latin typeface="Calibri" panose="020F0502020204030204" pitchFamily="34" charset="0"/>
                <a:ea typeface="SimSun" panose="02010600030101010101" pitchFamily="2" charset="-122"/>
              </a:rPr>
              <a:t>Armour</a:t>
            </a:r>
            <a:r>
              <a:rPr lang="en-US" sz="1400" dirty="0">
                <a:solidFill>
                  <a:srgbClr val="000000"/>
                </a:solidFill>
                <a:latin typeface="Calibri" panose="020F0502020204030204" pitchFamily="34" charset="0"/>
                <a:ea typeface="SimSun" panose="02010600030101010101" pitchFamily="2" charset="-122"/>
              </a:rPr>
              <a:t> Materials: Recrystallization and Melting (2024) DTU</a:t>
            </a:r>
            <a:endParaRPr lang="de-DE" sz="1200" dirty="0">
              <a:solidFill>
                <a:srgbClr val="000000"/>
              </a:solidFill>
              <a:latin typeface="Calibri" panose="020F0502020204030204" pitchFamily="34" charset="0"/>
              <a:ea typeface="SimSun" panose="02010600030101010101" pitchFamily="2" charset="-122"/>
            </a:endParaRPr>
          </a:p>
        </p:txBody>
      </p:sp>
      <p:sp>
        <p:nvSpPr>
          <p:cNvPr id="4" name="Fußzeilenplatzhalter 3"/>
          <p:cNvSpPr>
            <a:spLocks noGrp="1"/>
          </p:cNvSpPr>
          <p:nvPr>
            <p:ph type="ftr" sz="quarter" idx="11"/>
          </p:nvPr>
        </p:nvSpPr>
        <p:spPr/>
        <p:txBody>
          <a:bodyPr/>
          <a:lstStyle/>
          <a:p>
            <a:pPr algn="r" defTabSz="685800"/>
            <a:r>
              <a:rPr lang="en-GB" dirty="0">
                <a:solidFill>
                  <a:prstClr val="black"/>
                </a:solidFill>
              </a:rPr>
              <a:t>| WPPWIE Project Reporting Helsinki | April 2024 | Page </a:t>
            </a:r>
            <a:fld id="{6A6D9FA1-99C7-4910-8E32-B85D378B0060}" type="slidenum">
              <a:rPr lang="en-GB">
                <a:solidFill>
                  <a:prstClr val="black"/>
                </a:solidFill>
              </a:rPr>
              <a:pPr algn="r" defTabSz="685800"/>
              <a:t>27</a:t>
            </a:fld>
            <a:endParaRPr lang="en-GB" dirty="0">
              <a:solidFill>
                <a:prstClr val="black"/>
              </a:solidFill>
            </a:endParaRPr>
          </a:p>
        </p:txBody>
      </p:sp>
      <p:sp>
        <p:nvSpPr>
          <p:cNvPr id="5" name="Textfeld 4"/>
          <p:cNvSpPr txBox="1"/>
          <p:nvPr/>
        </p:nvSpPr>
        <p:spPr>
          <a:xfrm>
            <a:off x="107505" y="555526"/>
            <a:ext cx="8928992" cy="4298421"/>
          </a:xfrm>
          <a:prstGeom prst="rect">
            <a:avLst/>
          </a:prstGeom>
          <a:noFill/>
          <a:ln w="12700">
            <a:noFill/>
          </a:ln>
        </p:spPr>
        <p:txBody>
          <a:bodyPr wrap="square" rtlCol="0">
            <a:spAutoFit/>
          </a:bodyPr>
          <a:lstStyle/>
          <a:p>
            <a:pPr marL="214308"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Annealing of chosen tungsten-based materials and quantification of recrystallization kinetics (DTU)</a:t>
            </a:r>
          </a:p>
          <a:p>
            <a:pPr marL="214308"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Characterization of microstructural changes during heat exposure</a:t>
            </a:r>
          </a:p>
          <a:p>
            <a:pPr marL="214308" indent="-214308" defTabSz="685800">
              <a:lnSpc>
                <a:spcPct val="113000"/>
              </a:lnSpc>
              <a:buFont typeface="Wingdings" panose="05000000000000000000" pitchFamily="2" charset="2"/>
              <a:buChar char="§"/>
            </a:pPr>
            <a:endParaRPr lang="en-US" sz="1350" dirty="0">
              <a:solidFill>
                <a:prstClr val="black"/>
              </a:solidFill>
              <a:latin typeface="Arial" panose="020B0604020202020204" pitchFamily="34" charset="0"/>
              <a:cs typeface="Arial" panose="020B0604020202020204" pitchFamily="34" charset="0"/>
            </a:endParaRPr>
          </a:p>
          <a:p>
            <a:pPr marL="214308"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Status / Plan 2024</a:t>
            </a:r>
          </a:p>
          <a:p>
            <a:pPr marL="214308"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Model tungsten fiber-reinforced tungsten composites with single fibers</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Continuation from 2023</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With 3 µm interlayer after 1 week of annealing at 1450 °C</a:t>
            </a:r>
          </a:p>
          <a:p>
            <a:pPr marL="214308" indent="-214308" defTabSz="685800">
              <a:lnSpc>
                <a:spcPct val="113000"/>
              </a:lnSpc>
              <a:buFont typeface="Wingdings" panose="05000000000000000000" pitchFamily="2" charset="2"/>
              <a:buChar char="§"/>
            </a:pPr>
            <a:endParaRPr lang="en-US" sz="1350" dirty="0">
              <a:solidFill>
                <a:prstClr val="black"/>
              </a:solidFill>
              <a:latin typeface="Arial" panose="020B0604020202020204" pitchFamily="34" charset="0"/>
              <a:cs typeface="Arial" panose="020B0604020202020204" pitchFamily="34" charset="0"/>
            </a:endParaRPr>
          </a:p>
          <a:p>
            <a:pPr marL="214308" indent="-214308" defTabSz="685800">
              <a:lnSpc>
                <a:spcPct val="113000"/>
              </a:lnSpc>
              <a:buFont typeface="Wingdings" panose="05000000000000000000" pitchFamily="2" charset="2"/>
              <a:buChar char="§"/>
            </a:pPr>
            <a:endParaRPr lang="en-US" sz="1350" dirty="0">
              <a:solidFill>
                <a:prstClr val="black"/>
              </a:solidFill>
              <a:latin typeface="Arial" panose="020B0604020202020204" pitchFamily="34" charset="0"/>
              <a:cs typeface="Arial" panose="020B0604020202020204" pitchFamily="34" charset="0"/>
            </a:endParaRPr>
          </a:p>
          <a:p>
            <a:pPr marL="214308" indent="-214308" defTabSz="685800">
              <a:lnSpc>
                <a:spcPct val="113000"/>
              </a:lnSpc>
              <a:buFont typeface="Wingdings" panose="05000000000000000000" pitchFamily="2" charset="2"/>
              <a:buChar char="§"/>
            </a:pPr>
            <a:endParaRPr lang="en-US" sz="1350" dirty="0">
              <a:solidFill>
                <a:prstClr val="black"/>
              </a:solidFill>
              <a:latin typeface="Arial" panose="020B0604020202020204" pitchFamily="34" charset="0"/>
              <a:cs typeface="Arial" panose="020B0604020202020204" pitchFamily="34" charset="0"/>
            </a:endParaRPr>
          </a:p>
          <a:p>
            <a:pPr marL="214308"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Multi-fiber tungsten fiber-reinforced tungsten composites </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New from 2024</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Manufactured by powder metallurgy (Yiran Mao)</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Notched specimens for bending tests </a:t>
            </a:r>
          </a:p>
          <a:p>
            <a:pPr marL="900108" lvl="2"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With continuous fibers</a:t>
            </a:r>
          </a:p>
          <a:p>
            <a:pPr marL="900108" lvl="2"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With short fibers</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Characterization of microstructure (cross section)</a:t>
            </a:r>
          </a:p>
          <a:p>
            <a:pPr marL="557208" lvl="1" indent="-214308" defTabSz="685800">
              <a:lnSpc>
                <a:spcPct val="113000"/>
              </a:lnSpc>
              <a:buFont typeface="Wingdings" panose="05000000000000000000" pitchFamily="2" charset="2"/>
              <a:buChar char="§"/>
            </a:pPr>
            <a:r>
              <a:rPr lang="en-US" sz="1350" dirty="0">
                <a:solidFill>
                  <a:prstClr val="black"/>
                </a:solidFill>
                <a:latin typeface="Arial" panose="020B0604020202020204" pitchFamily="34" charset="0"/>
                <a:cs typeface="Arial" panose="020B0604020202020204" pitchFamily="34" charset="0"/>
              </a:rPr>
              <a:t>Annealing at 1450 °C initiated</a:t>
            </a:r>
          </a:p>
        </p:txBody>
      </p:sp>
      <p:pic>
        <p:nvPicPr>
          <p:cNvPr id="8" name="Picture 7"/>
          <p:cNvPicPr>
            <a:picLocks noChangeAspect="1"/>
          </p:cNvPicPr>
          <p:nvPr/>
        </p:nvPicPr>
        <p:blipFill>
          <a:blip r:embed="rId3"/>
          <a:stretch>
            <a:fillRect/>
          </a:stretch>
        </p:blipFill>
        <p:spPr>
          <a:xfrm>
            <a:off x="5978814" y="891867"/>
            <a:ext cx="2560542" cy="2025572"/>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9271" y="2278486"/>
            <a:ext cx="1949400" cy="540000"/>
          </a:xfrm>
          <a:prstGeom prst="rect">
            <a:avLst/>
          </a:prstGeom>
        </p:spPr>
      </p:pic>
      <p:pic>
        <p:nvPicPr>
          <p:cNvPr id="10" name="Picture 9"/>
          <p:cNvPicPr>
            <a:picLocks noChangeAspect="1"/>
          </p:cNvPicPr>
          <p:nvPr/>
        </p:nvPicPr>
        <p:blipFill>
          <a:blip r:embed="rId5"/>
          <a:stretch>
            <a:fillRect/>
          </a:stretch>
        </p:blipFill>
        <p:spPr>
          <a:xfrm>
            <a:off x="3706491" y="2278486"/>
            <a:ext cx="1862069" cy="540000"/>
          </a:xfrm>
          <a:prstGeom prst="rect">
            <a:avLst/>
          </a:prstGeom>
        </p:spPr>
      </p:pic>
      <p:pic>
        <p:nvPicPr>
          <p:cNvPr id="11" name="Picture 10"/>
          <p:cNvPicPr>
            <a:picLocks noChangeAspect="1"/>
          </p:cNvPicPr>
          <p:nvPr/>
        </p:nvPicPr>
        <p:blipFill>
          <a:blip r:embed="rId5"/>
          <a:stretch>
            <a:fillRect/>
          </a:stretch>
        </p:blipFill>
        <p:spPr>
          <a:xfrm>
            <a:off x="3706491" y="3689569"/>
            <a:ext cx="1862069" cy="540000"/>
          </a:xfrm>
          <a:prstGeom prst="rect">
            <a:avLst/>
          </a:prstGeom>
        </p:spPr>
      </p:pic>
      <p:pic>
        <p:nvPicPr>
          <p:cNvPr id="12" name="Pictur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74227" y="82253"/>
            <a:ext cx="257276" cy="375300"/>
          </a:xfrm>
          <a:prstGeom prst="rect">
            <a:avLst/>
          </a:prstGeom>
        </p:spPr>
      </p:pic>
    </p:spTree>
    <p:extLst>
      <p:ext uri="{BB962C8B-B14F-4D97-AF65-F5344CB8AC3E}">
        <p14:creationId xmlns:p14="http://schemas.microsoft.com/office/powerpoint/2010/main" val="35209957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609" y="82253"/>
            <a:ext cx="7736334" cy="342900"/>
          </a:xfrm>
        </p:spPr>
        <p:txBody>
          <a:bodyPr/>
          <a:lstStyle/>
          <a:p>
            <a:r>
              <a:rPr lang="en-US" sz="1400" dirty="0">
                <a:solidFill>
                  <a:srgbClr val="000000"/>
                </a:solidFill>
                <a:latin typeface="Calibri" panose="020F0502020204030204" pitchFamily="34" charset="0"/>
                <a:ea typeface="SimSun" panose="02010600030101010101" pitchFamily="2" charset="-122"/>
              </a:rPr>
              <a:t>SP A.4 High Temperature performance of </a:t>
            </a:r>
            <a:r>
              <a:rPr lang="en-US" sz="1400" dirty="0" err="1">
                <a:solidFill>
                  <a:srgbClr val="000000"/>
                </a:solidFill>
                <a:latin typeface="Calibri" panose="020F0502020204030204" pitchFamily="34" charset="0"/>
                <a:ea typeface="SimSun" panose="02010600030101010101" pitchFamily="2" charset="-122"/>
              </a:rPr>
              <a:t>Armour</a:t>
            </a:r>
            <a:r>
              <a:rPr lang="en-US" sz="1400" dirty="0">
                <a:solidFill>
                  <a:srgbClr val="000000"/>
                </a:solidFill>
                <a:latin typeface="Calibri" panose="020F0502020204030204" pitchFamily="34" charset="0"/>
                <a:ea typeface="SimSun" panose="02010600030101010101" pitchFamily="2" charset="-122"/>
              </a:rPr>
              <a:t> Materials: Recrystallization and Melting (2024) DTU</a:t>
            </a:r>
            <a:endParaRPr lang="de-DE" sz="1200" dirty="0">
              <a:solidFill>
                <a:srgbClr val="000000"/>
              </a:solidFill>
              <a:latin typeface="Calibri" panose="020F0502020204030204" pitchFamily="34" charset="0"/>
              <a:ea typeface="SimSun" panose="02010600030101010101" pitchFamily="2" charset="-122"/>
            </a:endParaRPr>
          </a:p>
        </p:txBody>
      </p:sp>
      <p:sp>
        <p:nvSpPr>
          <p:cNvPr id="6" name="Content Placeholder 5"/>
          <p:cNvSpPr>
            <a:spLocks noGrp="1"/>
          </p:cNvSpPr>
          <p:nvPr>
            <p:ph idx="1"/>
          </p:nvPr>
        </p:nvSpPr>
        <p:spPr>
          <a:xfrm>
            <a:off x="457200" y="631125"/>
            <a:ext cx="8216721" cy="4246748"/>
          </a:xfrm>
        </p:spPr>
        <p:txBody>
          <a:bodyPr>
            <a:normAutofit/>
          </a:bodyPr>
          <a:lstStyle/>
          <a:p>
            <a:r>
              <a:rPr lang="en-US" sz="1500" dirty="0"/>
              <a:t>Tungsten fiber-reinforced tungsten composites </a:t>
            </a:r>
            <a:br>
              <a:rPr lang="en-US" sz="1500" dirty="0"/>
            </a:br>
            <a:r>
              <a:rPr lang="en-US" sz="1500" dirty="0"/>
              <a:t>(cross sections of notched specimens for bending test)</a:t>
            </a:r>
          </a:p>
          <a:p>
            <a:pPr marL="0" indent="0">
              <a:buNone/>
            </a:pPr>
            <a:endParaRPr lang="en-GB" sz="1500" dirty="0"/>
          </a:p>
        </p:txBody>
      </p:sp>
      <p:graphicFrame>
        <p:nvGraphicFramePr>
          <p:cNvPr id="3" name="Table 2"/>
          <p:cNvGraphicFramePr>
            <a:graphicFrameLocks noGrp="1"/>
          </p:cNvGraphicFramePr>
          <p:nvPr/>
        </p:nvGraphicFramePr>
        <p:xfrm>
          <a:off x="831964" y="1188142"/>
          <a:ext cx="7790412" cy="2989311"/>
        </p:xfrm>
        <a:graphic>
          <a:graphicData uri="http://schemas.openxmlformats.org/drawingml/2006/table">
            <a:tbl>
              <a:tblPr firstRow="1" bandRow="1">
                <a:tableStyleId>{5C22544A-7EE6-4342-B048-85BDC9FD1C3A}</a:tableStyleId>
              </a:tblPr>
              <a:tblGrid>
                <a:gridCol w="764080">
                  <a:extLst>
                    <a:ext uri="{9D8B030D-6E8A-4147-A177-3AD203B41FA5}">
                      <a16:colId xmlns:a16="http://schemas.microsoft.com/office/drawing/2014/main" val="1336261366"/>
                    </a:ext>
                  </a:extLst>
                </a:gridCol>
                <a:gridCol w="3566160">
                  <a:extLst>
                    <a:ext uri="{9D8B030D-6E8A-4147-A177-3AD203B41FA5}">
                      <a16:colId xmlns:a16="http://schemas.microsoft.com/office/drawing/2014/main" val="471328498"/>
                    </a:ext>
                  </a:extLst>
                </a:gridCol>
                <a:gridCol w="3460172">
                  <a:extLst>
                    <a:ext uri="{9D8B030D-6E8A-4147-A177-3AD203B41FA5}">
                      <a16:colId xmlns:a16="http://schemas.microsoft.com/office/drawing/2014/main" val="2542825775"/>
                    </a:ext>
                  </a:extLst>
                </a:gridCol>
              </a:tblGrid>
              <a:tr h="291831">
                <a:tc>
                  <a:txBody>
                    <a:bodyPr/>
                    <a:lstStyle/>
                    <a:p>
                      <a:endParaRPr lang="en-US" sz="1400" noProof="0" dirty="0"/>
                    </a:p>
                  </a:txBody>
                  <a:tcPr marL="68580" marR="68580" marT="34290" marB="34290"/>
                </a:tc>
                <a:tc>
                  <a:txBody>
                    <a:bodyPr/>
                    <a:lstStyle/>
                    <a:p>
                      <a:r>
                        <a:rPr lang="en-US" sz="1400" noProof="0" dirty="0"/>
                        <a:t>Continuous fibers</a:t>
                      </a:r>
                      <a:r>
                        <a:rPr lang="en-US" sz="1400" baseline="0" noProof="0" dirty="0"/>
                        <a:t> – compact matrix</a:t>
                      </a:r>
                      <a:endParaRPr lang="en-US" sz="1400" noProof="0" dirty="0"/>
                    </a:p>
                  </a:txBody>
                  <a:tcPr marL="68580" marR="68580" marT="34290" marB="34290"/>
                </a:tc>
                <a:tc>
                  <a:txBody>
                    <a:bodyPr/>
                    <a:lstStyle/>
                    <a:p>
                      <a:r>
                        <a:rPr lang="en-US" sz="1400" noProof="0" dirty="0"/>
                        <a:t>Short fibers – porous</a:t>
                      </a:r>
                      <a:r>
                        <a:rPr lang="en-US" sz="1400" baseline="0" noProof="0" dirty="0"/>
                        <a:t> matrix</a:t>
                      </a:r>
                      <a:endParaRPr lang="en-US" sz="1400" noProof="0" dirty="0"/>
                    </a:p>
                  </a:txBody>
                  <a:tcPr marL="68580" marR="68580" marT="34290" marB="34290"/>
                </a:tc>
                <a:extLst>
                  <a:ext uri="{0D108BD9-81ED-4DB2-BD59-A6C34878D82A}">
                    <a16:rowId xmlns:a16="http://schemas.microsoft.com/office/drawing/2014/main" val="1161647331"/>
                  </a:ext>
                </a:extLst>
              </a:tr>
              <a:tr h="1303020">
                <a:tc>
                  <a:txBody>
                    <a:bodyPr/>
                    <a:lstStyle/>
                    <a:p>
                      <a:r>
                        <a:rPr lang="en-US" sz="1400" noProof="0" dirty="0"/>
                        <a:t>LOM</a:t>
                      </a:r>
                    </a:p>
                  </a:txBody>
                  <a:tcPr marL="68580" marR="68580" marT="34290" marB="34290"/>
                </a:tc>
                <a:tc>
                  <a:txBody>
                    <a:bodyPr/>
                    <a:lstStyle/>
                    <a:p>
                      <a:endParaRPr lang="en-US" sz="1400" noProof="0" dirty="0"/>
                    </a:p>
                    <a:p>
                      <a:endParaRPr lang="en-US" sz="1400" noProof="0" dirty="0"/>
                    </a:p>
                    <a:p>
                      <a:endParaRPr lang="en-US" sz="1400" noProof="0" dirty="0"/>
                    </a:p>
                    <a:p>
                      <a:endParaRPr lang="en-US" sz="1400" noProof="0" dirty="0"/>
                    </a:p>
                    <a:p>
                      <a:endParaRPr lang="en-US" sz="1400" noProof="0" dirty="0"/>
                    </a:p>
                    <a:p>
                      <a:endParaRPr lang="en-US" sz="1400" noProof="0" dirty="0"/>
                    </a:p>
                  </a:txBody>
                  <a:tcPr marL="68580" marR="68580" marT="34290" marB="34290"/>
                </a:tc>
                <a:tc>
                  <a:txBody>
                    <a:bodyPr/>
                    <a:lstStyle/>
                    <a:p>
                      <a:endParaRPr lang="en-US" sz="1400" noProof="0" dirty="0"/>
                    </a:p>
                  </a:txBody>
                  <a:tcPr marL="68580" marR="68580" marT="34290" marB="34290"/>
                </a:tc>
                <a:extLst>
                  <a:ext uri="{0D108BD9-81ED-4DB2-BD59-A6C34878D82A}">
                    <a16:rowId xmlns:a16="http://schemas.microsoft.com/office/drawing/2014/main" val="2391318757"/>
                  </a:ext>
                </a:extLst>
              </a:tr>
              <a:tr h="1303020">
                <a:tc>
                  <a:txBody>
                    <a:bodyPr/>
                    <a:lstStyle/>
                    <a:p>
                      <a:r>
                        <a:rPr lang="en-US" sz="1400" noProof="0" dirty="0"/>
                        <a:t>SEM</a:t>
                      </a:r>
                    </a:p>
                  </a:txBody>
                  <a:tcPr marL="68580" marR="68580" marT="34290" marB="34290"/>
                </a:tc>
                <a:tc>
                  <a:txBody>
                    <a:bodyPr/>
                    <a:lstStyle/>
                    <a:p>
                      <a:endParaRPr lang="en-US" sz="1400" noProof="0" dirty="0"/>
                    </a:p>
                    <a:p>
                      <a:endParaRPr lang="en-US" sz="1400" noProof="0" dirty="0"/>
                    </a:p>
                    <a:p>
                      <a:endParaRPr lang="en-US" sz="1400" noProof="0" dirty="0"/>
                    </a:p>
                    <a:p>
                      <a:endParaRPr lang="en-US" sz="1400" noProof="0" dirty="0"/>
                    </a:p>
                    <a:p>
                      <a:endParaRPr lang="en-US" sz="1400" noProof="0" dirty="0"/>
                    </a:p>
                    <a:p>
                      <a:endParaRPr lang="en-US" sz="1400" noProof="0" dirty="0"/>
                    </a:p>
                  </a:txBody>
                  <a:tcPr marL="68580" marR="68580" marT="34290" marB="34290"/>
                </a:tc>
                <a:tc>
                  <a:txBody>
                    <a:bodyPr/>
                    <a:lstStyle/>
                    <a:p>
                      <a:endParaRPr lang="en-US" sz="1400" noProof="0" dirty="0"/>
                    </a:p>
                  </a:txBody>
                  <a:tcPr marL="68580" marR="68580" marT="34290" marB="34290"/>
                </a:tc>
                <a:extLst>
                  <a:ext uri="{0D108BD9-81ED-4DB2-BD59-A6C34878D82A}">
                    <a16:rowId xmlns:a16="http://schemas.microsoft.com/office/drawing/2014/main" val="3838509337"/>
                  </a:ext>
                </a:extLst>
              </a:tr>
            </a:tbl>
          </a:graphicData>
        </a:graphic>
      </p:graphicFrame>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48560" y="1575950"/>
            <a:ext cx="2160000" cy="162000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48560" y="3298936"/>
            <a:ext cx="2160000" cy="1620000"/>
          </a:xfrm>
          <a:prstGeom prst="rect">
            <a:avLst/>
          </a:prstGeom>
        </p:spPr>
      </p:pic>
      <p:pic>
        <p:nvPicPr>
          <p:cNvPr id="10" name="Picture 9"/>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5429603" y="1578292"/>
            <a:ext cx="2160000" cy="1620000"/>
          </a:xfrm>
          <a:prstGeom prst="rect">
            <a:avLst/>
          </a:prstGeom>
        </p:spPr>
      </p:pic>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29603" y="3298936"/>
            <a:ext cx="2160000" cy="1620000"/>
          </a:xfrm>
          <a:prstGeom prst="rect">
            <a:avLst/>
          </a:prstGeom>
        </p:spPr>
      </p:pic>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74227" y="82253"/>
            <a:ext cx="257276" cy="375300"/>
          </a:xfrm>
          <a:prstGeom prst="rect">
            <a:avLst/>
          </a:prstGeom>
        </p:spPr>
      </p:pic>
      <p:sp>
        <p:nvSpPr>
          <p:cNvPr id="7" name="Fußzeilenplatzhalter 3"/>
          <p:cNvSpPr>
            <a:spLocks noGrp="1"/>
          </p:cNvSpPr>
          <p:nvPr>
            <p:ph type="ftr" sz="quarter" idx="11"/>
          </p:nvPr>
        </p:nvSpPr>
        <p:spPr>
          <a:xfrm>
            <a:off x="467545" y="4908928"/>
            <a:ext cx="8240228" cy="201104"/>
          </a:xfrm>
        </p:spPr>
        <p:txBody>
          <a:bodyPr/>
          <a:lstStyle/>
          <a:p>
            <a:pPr algn="r" defTabSz="685800"/>
            <a:r>
              <a:rPr lang="en-GB" dirty="0">
                <a:solidFill>
                  <a:prstClr val="black"/>
                </a:solidFill>
              </a:rPr>
              <a:t>| WPPWIE Project Reporting Helsinki | April 2024 | Page </a:t>
            </a:r>
            <a:fld id="{6A6D9FA1-99C7-4910-8E32-B85D378B0060}" type="slidenum">
              <a:rPr lang="en-GB">
                <a:solidFill>
                  <a:prstClr val="black"/>
                </a:solidFill>
              </a:rPr>
              <a:pPr algn="r" defTabSz="685800"/>
              <a:t>28</a:t>
            </a:fld>
            <a:endParaRPr lang="en-GB" dirty="0">
              <a:solidFill>
                <a:prstClr val="black"/>
              </a:solidFill>
            </a:endParaRPr>
          </a:p>
        </p:txBody>
      </p:sp>
    </p:spTree>
    <p:extLst>
      <p:ext uri="{BB962C8B-B14F-4D97-AF65-F5344CB8AC3E}">
        <p14:creationId xmlns:p14="http://schemas.microsoft.com/office/powerpoint/2010/main" val="2135530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0"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08341" y="110315"/>
            <a:ext cx="7543800" cy="342900"/>
          </a:xfrm>
        </p:spPr>
        <p:txBody>
          <a:bodyPr/>
          <a:lstStyle/>
          <a:p>
            <a:r>
              <a:rPr lang="en-US" dirty="0"/>
              <a:t>Plans for </a:t>
            </a:r>
            <a:r>
              <a:rPr lang="pl-PL" dirty="0"/>
              <a:t>2024</a:t>
            </a:r>
            <a:endParaRPr lang="en-US" dirty="0"/>
          </a:p>
        </p:txBody>
      </p:sp>
      <p:sp>
        <p:nvSpPr>
          <p:cNvPr id="3" name="Content Placeholder 2"/>
          <p:cNvSpPr>
            <a:spLocks noGrp="1"/>
          </p:cNvSpPr>
          <p:nvPr>
            <p:ph idx="1"/>
          </p:nvPr>
        </p:nvSpPr>
        <p:spPr>
          <a:xfrm>
            <a:off x="300723" y="683551"/>
            <a:ext cx="5639429" cy="1816191"/>
          </a:xfrm>
        </p:spPr>
        <p:txBody>
          <a:bodyPr>
            <a:noAutofit/>
          </a:bodyPr>
          <a:lstStyle/>
          <a:p>
            <a:pPr marL="0" indent="0">
              <a:buNone/>
            </a:pPr>
            <a:r>
              <a:rPr lang="pl-PL" sz="1400" b="1" dirty="0"/>
              <a:t>Achived in 2023</a:t>
            </a:r>
          </a:p>
          <a:p>
            <a:pPr marL="0" indent="0">
              <a:buNone/>
            </a:pPr>
            <a:r>
              <a:rPr lang="en-US" sz="1400" dirty="0"/>
              <a:t>Comparison between linear devices</a:t>
            </a:r>
            <a:r>
              <a:rPr lang="pl-PL" sz="1400" dirty="0"/>
              <a:t> (PSI-2)</a:t>
            </a:r>
            <a:r>
              <a:rPr lang="en-US" sz="1400" dirty="0"/>
              <a:t> and tokamak</a:t>
            </a:r>
            <a:r>
              <a:rPr lang="pl-PL" sz="1400" dirty="0"/>
              <a:t> (AUG)</a:t>
            </a:r>
            <a:r>
              <a:rPr lang="en-US" sz="1400" dirty="0"/>
              <a:t> environment for fuzz formation</a:t>
            </a:r>
          </a:p>
          <a:p>
            <a:pPr>
              <a:buFont typeface="Wingdings" panose="05000000000000000000" pitchFamily="2" charset="2"/>
              <a:buChar char="§"/>
            </a:pPr>
            <a:r>
              <a:rPr lang="en-US" sz="1400" dirty="0"/>
              <a:t>Check previous exposures in PSI-2 with simultaneous plasma and laser loading</a:t>
            </a:r>
          </a:p>
          <a:p>
            <a:pPr>
              <a:buFont typeface="Wingdings" panose="05000000000000000000" pitchFamily="2" charset="2"/>
              <a:buChar char="§"/>
            </a:pPr>
            <a:r>
              <a:rPr lang="pl-PL" sz="1400" dirty="0"/>
              <a:t>Check</a:t>
            </a:r>
            <a:r>
              <a:rPr lang="en-US" sz="1400" dirty="0"/>
              <a:t> best conditions to reproduce AUG He fuzz</a:t>
            </a:r>
          </a:p>
          <a:p>
            <a:pPr marL="630238" indent="-268288">
              <a:buFontTx/>
              <a:buChar char="-"/>
            </a:pPr>
            <a:r>
              <a:rPr lang="en-US" sz="1400" dirty="0"/>
              <a:t>From existing exposures</a:t>
            </a:r>
          </a:p>
          <a:p>
            <a:pPr marL="630238" indent="-268288">
              <a:buFontTx/>
              <a:buChar char="-"/>
            </a:pPr>
            <a:r>
              <a:rPr lang="en-US" sz="1400" dirty="0"/>
              <a:t>New PSI-2 exposures</a:t>
            </a:r>
            <a:r>
              <a:rPr lang="pl-PL" sz="1400" dirty="0"/>
              <a:t> (</a:t>
            </a:r>
            <a:r>
              <a:rPr lang="pl-PL" sz="1400" dirty="0">
                <a:solidFill>
                  <a:srgbClr val="FF0000"/>
                </a:solidFill>
              </a:rPr>
              <a:t>2 exposure finished</a:t>
            </a:r>
            <a:r>
              <a:rPr lang="pl-PL" sz="1400" dirty="0"/>
              <a:t>)</a:t>
            </a:r>
            <a:endParaRPr lang="en-US" sz="1400" dirty="0"/>
          </a:p>
        </p:txBody>
      </p:sp>
      <p:sp>
        <p:nvSpPr>
          <p:cNvPr id="21" name="Footer Placeholder 3"/>
          <p:cNvSpPr>
            <a:spLocks noGrp="1"/>
          </p:cNvSpPr>
          <p:nvPr>
            <p:ph type="ftr" sz="quarter" idx="11"/>
          </p:nvPr>
        </p:nvSpPr>
        <p:spPr>
          <a:xfrm>
            <a:off x="467544" y="4908928"/>
            <a:ext cx="8240228" cy="20110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cin Rasiński | WP PWIE SP </a:t>
            </a: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4</a:t>
            </a:r>
            <a:r>
              <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Page 1</a:t>
            </a:r>
          </a:p>
        </p:txBody>
      </p:sp>
      <p:sp>
        <p:nvSpPr>
          <p:cNvPr id="4" name="Content Placeholder 2">
            <a:extLst>
              <a:ext uri="{FF2B5EF4-FFF2-40B4-BE49-F238E27FC236}">
                <a16:creationId xmlns:a16="http://schemas.microsoft.com/office/drawing/2014/main" id="{DB83F356-673E-18BA-E3C1-9B6AEBC594DB}"/>
              </a:ext>
            </a:extLst>
          </p:cNvPr>
          <p:cNvSpPr txBox="1">
            <a:spLocks/>
          </p:cNvSpPr>
          <p:nvPr/>
        </p:nvSpPr>
        <p:spPr>
          <a:xfrm>
            <a:off x="308341" y="2674167"/>
            <a:ext cx="8240228" cy="181619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l-PL"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s for 2024</a:t>
            </a: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ish all exposures in He plasma (</a:t>
            </a:r>
            <a:r>
              <a:rPr kumimoji="0" lang="pl-PL" sz="1400" b="0" i="0" u="none" strike="noStrike" kern="120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additional 2-3</a:t>
            </a: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nd best conditions to reproduce AUG He fuzz</a:t>
            </a: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d on the above:</a:t>
            </a: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periment: </a:t>
            </a:r>
            <a:r>
              <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94%D + 5%He + 1%Ne </a:t>
            </a:r>
            <a:r>
              <a:rPr kumimoji="0" lang="pl-PL"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us laser</a:t>
            </a: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a:t>
            </a: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I-2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 W to be performed</a:t>
            </a:r>
            <a:endPar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pl-PL"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nce no scheduled He campaing in ITER, the above would be most relevant exposure for normal ITER opperation)</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54DFF019-55C3-DD82-F998-CD5E6F7984D5}"/>
              </a:ext>
            </a:extLst>
          </p:cNvPr>
          <p:cNvSpPr txBox="1"/>
          <p:nvPr/>
        </p:nvSpPr>
        <p:spPr>
          <a:xfrm>
            <a:off x="5971180" y="843558"/>
            <a:ext cx="2742776" cy="278537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Calibri"/>
                <a:ea typeface="+mn-ea"/>
                <a:cs typeface="+mn-cs"/>
              </a:rPr>
              <a:t>PSI-2 He exposure - Fuzz form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Base Temperature ~ 900 °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Ion Flux ~   6</a:t>
            </a:r>
            <a:r>
              <a:rPr kumimoji="0" lang="pl-PL" sz="1200" b="0" i="0" u="none" strike="noStrike" kern="1200" cap="none" spc="0" normalizeH="0" baseline="0" noProof="0" dirty="0">
                <a:ln>
                  <a:noFill/>
                </a:ln>
                <a:solidFill>
                  <a:prstClr val="black"/>
                </a:solidFill>
                <a:effectLst/>
                <a:uLnTx/>
                <a:uFillTx/>
                <a:latin typeface="Calibri"/>
                <a:ea typeface="+mn-ea"/>
                <a:cs typeface="+mn-cs"/>
              </a:rPr>
              <a:t> - 8</a:t>
            </a:r>
            <a:r>
              <a:rPr kumimoji="0" lang="en-GB" sz="1200" b="0" i="0" u="none" strike="noStrike" kern="1200" cap="none" spc="0" normalizeH="0" baseline="0" noProof="0" dirty="0">
                <a:ln>
                  <a:noFill/>
                </a:ln>
                <a:solidFill>
                  <a:prstClr val="black"/>
                </a:solidFill>
                <a:effectLst/>
                <a:uLnTx/>
                <a:uFillTx/>
                <a:latin typeface="Calibri"/>
                <a:ea typeface="+mn-ea"/>
                <a:cs typeface="+mn-cs"/>
              </a:rPr>
              <a:t> × 10</a:t>
            </a:r>
            <a:r>
              <a:rPr kumimoji="0" lang="en-GB" sz="1200" b="0" i="0" u="none" strike="noStrike" kern="1200" cap="none" spc="0" normalizeH="0" baseline="30000" noProof="0" dirty="0">
                <a:ln>
                  <a:noFill/>
                </a:ln>
                <a:solidFill>
                  <a:prstClr val="black"/>
                </a:solidFill>
                <a:effectLst/>
                <a:uLnTx/>
                <a:uFillTx/>
                <a:latin typeface="Calibri"/>
                <a:ea typeface="+mn-ea"/>
                <a:cs typeface="+mn-cs"/>
              </a:rPr>
              <a:t>21</a:t>
            </a:r>
            <a:r>
              <a:rPr kumimoji="0" lang="en-GB" sz="1200" b="0" i="0" u="none" strike="noStrike" kern="1200" cap="none" spc="0" normalizeH="0" baseline="0" noProof="0" dirty="0">
                <a:ln>
                  <a:noFill/>
                </a:ln>
                <a:solidFill>
                  <a:prstClr val="black"/>
                </a:solidFill>
                <a:effectLst/>
                <a:uLnTx/>
                <a:uFillTx/>
                <a:latin typeface="Calibri"/>
                <a:ea typeface="+mn-ea"/>
                <a:cs typeface="+mn-cs"/>
              </a:rPr>
              <a:t> m</a:t>
            </a:r>
            <a:r>
              <a:rPr kumimoji="0" lang="en-GB" sz="1200" b="0" i="0" u="none" strike="noStrike" kern="1200" cap="none" spc="0" normalizeH="0" baseline="30000" noProof="0" dirty="0">
                <a:ln>
                  <a:noFill/>
                </a:ln>
                <a:solidFill>
                  <a:prstClr val="black"/>
                </a:solidFill>
                <a:effectLst/>
                <a:uLnTx/>
                <a:uFillTx/>
                <a:latin typeface="Calibri"/>
                <a:ea typeface="+mn-ea"/>
                <a:cs typeface="+mn-cs"/>
              </a:rPr>
              <a:t>-2</a:t>
            </a:r>
            <a:r>
              <a:rPr kumimoji="0" lang="en-GB" sz="1200" b="0" i="0" u="none" strike="noStrike" kern="1200" cap="none" spc="0" normalizeH="0" baseline="0" noProof="0" dirty="0">
                <a:ln>
                  <a:noFill/>
                </a:ln>
                <a:solidFill>
                  <a:prstClr val="black"/>
                </a:solidFill>
                <a:effectLst/>
                <a:uLnTx/>
                <a:uFillTx/>
                <a:latin typeface="Calibri"/>
                <a:ea typeface="+mn-ea"/>
                <a:cs typeface="+mn-cs"/>
              </a:rPr>
              <a:t>s</a:t>
            </a:r>
            <a:r>
              <a:rPr kumimoji="0" lang="en-GB" sz="1200" b="0" i="0" u="none" strike="noStrike" kern="1200" cap="none" spc="0" normalizeH="0" baseline="30000" noProof="0" dirty="0">
                <a:ln>
                  <a:noFill/>
                </a:ln>
                <a:solidFill>
                  <a:prstClr val="black"/>
                </a:solidFill>
                <a:effectLst/>
                <a:uLnTx/>
                <a:uFillTx/>
                <a:latin typeface="Calibri"/>
                <a:ea typeface="+mn-ea"/>
                <a:cs typeface="+mn-cs"/>
              </a:rPr>
              <a:t>-1</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Fluence ~ 1 × 10</a:t>
            </a:r>
            <a:r>
              <a:rPr kumimoji="0" lang="en-GB" sz="1200" b="0" i="0" u="none" strike="noStrike" kern="1200" cap="none" spc="0" normalizeH="0" baseline="30000" noProof="0" dirty="0">
                <a:ln>
                  <a:noFill/>
                </a:ln>
                <a:solidFill>
                  <a:prstClr val="black"/>
                </a:solidFill>
                <a:effectLst/>
                <a:uLnTx/>
                <a:uFillTx/>
                <a:latin typeface="Calibri"/>
                <a:ea typeface="+mn-ea"/>
                <a:cs typeface="+mn-cs"/>
              </a:rPr>
              <a:t>25 </a:t>
            </a:r>
            <a:r>
              <a:rPr kumimoji="0" lang="en-GB" sz="1200" b="0" i="0" u="none" strike="noStrike" kern="1200" cap="none" spc="0" normalizeH="0" baseline="0" noProof="0" dirty="0">
                <a:ln>
                  <a:noFill/>
                </a:ln>
                <a:solidFill>
                  <a:prstClr val="black"/>
                </a:solidFill>
                <a:effectLst/>
                <a:uLnTx/>
                <a:uFillTx/>
                <a:latin typeface="Calibri"/>
                <a:ea typeface="+mn-ea"/>
                <a:cs typeface="+mn-cs"/>
              </a:rPr>
              <a:t>m</a:t>
            </a:r>
            <a:r>
              <a:rPr kumimoji="0" lang="en-GB" sz="1200" b="0" i="0" u="none" strike="noStrike" kern="1200" cap="none" spc="0" normalizeH="0" baseline="30000" noProof="0" dirty="0">
                <a:ln>
                  <a:noFill/>
                </a:ln>
                <a:solidFill>
                  <a:prstClr val="black"/>
                </a:solidFill>
                <a:effectLst/>
                <a:uLnTx/>
                <a:uFillTx/>
                <a:latin typeface="Calibri"/>
                <a:ea typeface="+mn-ea"/>
                <a:cs typeface="+mn-cs"/>
              </a:rPr>
              <a:t>-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Energy ~  160 e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0000"/>
                </a:solidFill>
                <a:effectLst/>
                <a:uLnTx/>
                <a:uFillTx/>
                <a:latin typeface="Calibri"/>
                <a:ea typeface="+mn-ea"/>
                <a:cs typeface="+mn-cs"/>
              </a:rPr>
              <a:t>Las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200</a:t>
            </a:r>
            <a:r>
              <a:rPr kumimoji="0" lang="pl-PL" sz="1200" b="0" i="0" u="none" strike="noStrike" kern="1200" cap="none" spc="0" normalizeH="0" baseline="0" noProof="0" dirty="0">
                <a:ln>
                  <a:noFill/>
                </a:ln>
                <a:solidFill>
                  <a:prstClr val="black"/>
                </a:solidFill>
                <a:effectLst/>
                <a:uLnTx/>
                <a:uFillTx/>
                <a:latin typeface="Calibri"/>
                <a:ea typeface="+mn-ea"/>
                <a:cs typeface="+mn-cs"/>
              </a:rPr>
              <a:t> and 400</a:t>
            </a:r>
            <a:r>
              <a:rPr kumimoji="0" lang="en-GB" sz="1200" b="0" i="0" u="none" strike="noStrike" kern="1200" cap="none" spc="0" normalizeH="0" baseline="0" noProof="0" dirty="0">
                <a:ln>
                  <a:noFill/>
                </a:ln>
                <a:solidFill>
                  <a:prstClr val="black"/>
                </a:solidFill>
                <a:effectLst/>
                <a:uLnTx/>
                <a:uFillTx/>
                <a:latin typeface="Calibri"/>
                <a:ea typeface="+mn-ea"/>
                <a:cs typeface="+mn-cs"/>
              </a:rPr>
              <a:t> MW/m</a:t>
            </a:r>
            <a:r>
              <a:rPr kumimoji="0" lang="en-GB" sz="1200" b="0" i="0" u="none" strike="noStrike" kern="1200" cap="none" spc="0" normalizeH="0" baseline="30000" noProof="0" dirty="0">
                <a:ln>
                  <a:noFill/>
                </a:ln>
                <a:solidFill>
                  <a:prstClr val="black"/>
                </a:solidFill>
                <a:effectLst/>
                <a:uLnTx/>
                <a:uFillTx/>
                <a:latin typeface="Calibri"/>
                <a:ea typeface="+mn-ea"/>
                <a:cs typeface="+mn-cs"/>
              </a:rPr>
              <a:t>2</a:t>
            </a:r>
            <a:r>
              <a:rPr kumimoji="0" lang="en-GB" sz="1200" b="0" i="0" u="none" strike="noStrike" kern="1200" cap="none" spc="0" normalizeH="0" baseline="0" noProof="0" dirty="0">
                <a:ln>
                  <a:noFill/>
                </a:ln>
                <a:solidFill>
                  <a:prstClr val="black"/>
                </a:solidFill>
                <a:effectLst/>
                <a:uLnTx/>
                <a:uFillTx/>
                <a:latin typeface="Calibri"/>
                <a:ea typeface="+mn-ea"/>
                <a:cs typeface="+mn-cs"/>
              </a:rPr>
              <a:t>  0,5</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err="1">
                <a:ln>
                  <a:noFill/>
                </a:ln>
                <a:solidFill>
                  <a:prstClr val="black"/>
                </a:solidFill>
                <a:effectLst/>
                <a:uLnTx/>
                <a:uFillTx/>
                <a:latin typeface="Calibri"/>
                <a:ea typeface="+mn-ea"/>
                <a:cs typeface="+mn-cs"/>
              </a:rPr>
              <a:t>ms</a:t>
            </a:r>
            <a:r>
              <a:rPr kumimoji="0" lang="pl-PL" sz="1200" b="0" i="0" u="none" strike="noStrike" kern="1200" cap="none" spc="0" normalizeH="0" baseline="0" noProof="0" dirty="0">
                <a:ln>
                  <a:noFill/>
                </a:ln>
                <a:solidFill>
                  <a:prstClr val="black"/>
                </a:solidFill>
                <a:effectLst/>
                <a:uLnTx/>
                <a:uFillTx/>
                <a:latin typeface="Calibri"/>
                <a:ea typeface="+mn-ea"/>
                <a:cs typeface="+mn-cs"/>
              </a:rPr>
              <a:t>,</a:t>
            </a:r>
            <a:r>
              <a:rPr kumimoji="0" lang="en-GB" sz="1200" b="0" i="0" u="none" strike="noStrike" kern="1200" cap="none" spc="0" normalizeH="0" baseline="0" noProof="0" dirty="0">
                <a:ln>
                  <a:noFill/>
                </a:ln>
                <a:solidFill>
                  <a:prstClr val="black"/>
                </a:solidFill>
                <a:effectLst/>
                <a:uLnTx/>
                <a:uFillTx/>
                <a:latin typeface="Calibri"/>
                <a:ea typeface="+mn-ea"/>
                <a:cs typeface="+mn-cs"/>
              </a:rPr>
              <a:t>  25</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a:ln>
                  <a:noFill/>
                </a:ln>
                <a:solidFill>
                  <a:prstClr val="black"/>
                </a:solidFill>
                <a:effectLst/>
                <a:uLnTx/>
                <a:uFillTx/>
                <a:latin typeface="Calibri"/>
                <a:ea typeface="+mn-ea"/>
                <a:cs typeface="+mn-cs"/>
              </a:rPr>
              <a:t>Hz</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Temperature 1100 </a:t>
            </a:r>
            <a:r>
              <a:rPr kumimoji="0" lang="en-DE" sz="1200" b="0" i="0" u="none" strike="noStrike" kern="1200" cap="none" spc="0" normalizeH="0" baseline="0" noProof="0" dirty="0">
                <a:ln>
                  <a:noFill/>
                </a:ln>
                <a:solidFill>
                  <a:prstClr val="black"/>
                </a:solidFill>
                <a:effectLst/>
                <a:uLnTx/>
                <a:uFillTx/>
                <a:latin typeface="Calibri"/>
                <a:ea typeface="+mn-ea"/>
                <a:cs typeface="+mn-cs"/>
              </a:rPr>
              <a:t>–</a:t>
            </a:r>
            <a:r>
              <a:rPr kumimoji="0" lang="en-GB" sz="1200" b="0" i="0" u="none" strike="noStrike" kern="1200" cap="none" spc="0" normalizeH="0" baseline="0" noProof="0" dirty="0">
                <a:ln>
                  <a:noFill/>
                </a:ln>
                <a:solidFill>
                  <a:prstClr val="black"/>
                </a:solidFill>
                <a:effectLst/>
                <a:uLnTx/>
                <a:uFillTx/>
                <a:latin typeface="Calibri"/>
                <a:ea typeface="+mn-ea"/>
                <a:cs typeface="+mn-cs"/>
              </a:rPr>
              <a:t> 1700 °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600</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a:ln>
                  <a:noFill/>
                </a:ln>
                <a:solidFill>
                  <a:prstClr val="black"/>
                </a:solidFill>
                <a:effectLst/>
                <a:uLnTx/>
                <a:uFillTx/>
                <a:latin typeface="Calibri"/>
                <a:ea typeface="+mn-ea"/>
                <a:cs typeface="+mn-cs"/>
              </a:rPr>
              <a:t>°C increase during the laser shot)</a:t>
            </a:r>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7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1F497D"/>
                </a:solidFill>
                <a:effectLst/>
                <a:uLnTx/>
                <a:uFillTx/>
                <a:latin typeface="Calibri"/>
                <a:ea typeface="+mn-ea"/>
                <a:cs typeface="+mn-cs"/>
              </a:rPr>
              <a:t>Las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l-PL" sz="1200" b="0" i="0" u="none" strike="noStrike" kern="1200" cap="none" spc="0" normalizeH="0" baseline="0" noProof="0" dirty="0">
                <a:ln>
                  <a:noFill/>
                </a:ln>
                <a:solidFill>
                  <a:prstClr val="black"/>
                </a:solidFill>
                <a:effectLst/>
                <a:uLnTx/>
                <a:uFillTx/>
                <a:latin typeface="Calibri"/>
                <a:ea typeface="+mn-ea"/>
                <a:cs typeface="+mn-cs"/>
              </a:rPr>
              <a:t>1</a:t>
            </a:r>
            <a:r>
              <a:rPr kumimoji="0" lang="en-GB" sz="1200" b="0" i="0" u="none" strike="noStrike" kern="1200" cap="none" spc="0" normalizeH="0" baseline="0" noProof="0" dirty="0">
                <a:ln>
                  <a:noFill/>
                </a:ln>
                <a:solidFill>
                  <a:prstClr val="black"/>
                </a:solidFill>
                <a:effectLst/>
                <a:uLnTx/>
                <a:uFillTx/>
                <a:latin typeface="Calibri"/>
                <a:ea typeface="+mn-ea"/>
                <a:cs typeface="+mn-cs"/>
              </a:rPr>
              <a:t>00</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a:ln>
                  <a:noFill/>
                </a:ln>
                <a:solidFill>
                  <a:prstClr val="black"/>
                </a:solidFill>
                <a:effectLst/>
                <a:uLnTx/>
                <a:uFillTx/>
                <a:latin typeface="Calibri"/>
                <a:ea typeface="+mn-ea"/>
                <a:cs typeface="+mn-cs"/>
              </a:rPr>
              <a:t> 0,5</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err="1">
                <a:ln>
                  <a:noFill/>
                </a:ln>
                <a:solidFill>
                  <a:prstClr val="black"/>
                </a:solidFill>
                <a:effectLst/>
                <a:uLnTx/>
                <a:uFillTx/>
                <a:latin typeface="Calibri"/>
                <a:ea typeface="+mn-ea"/>
                <a:cs typeface="+mn-cs"/>
              </a:rPr>
              <a:t>ms</a:t>
            </a:r>
            <a:r>
              <a:rPr kumimoji="0" lang="pl-PL" sz="1200" b="0" i="0" u="none" strike="noStrike" kern="1200" cap="none" spc="0" normalizeH="0" baseline="0" noProof="0" dirty="0">
                <a:ln>
                  <a:noFill/>
                </a:ln>
                <a:solidFill>
                  <a:prstClr val="black"/>
                </a:solidFill>
                <a:effectLst/>
                <a:uLnTx/>
                <a:uFillTx/>
                <a:latin typeface="Calibri"/>
                <a:ea typeface="+mn-ea"/>
                <a:cs typeface="+mn-cs"/>
              </a:rPr>
              <a:t>,</a:t>
            </a:r>
            <a:r>
              <a:rPr kumimoji="0" lang="en-GB" sz="1200" b="0" i="0" u="none" strike="noStrike" kern="1200" cap="none" spc="0" normalizeH="0" baseline="0" noProof="0" dirty="0">
                <a:ln>
                  <a:noFill/>
                </a:ln>
                <a:solidFill>
                  <a:prstClr val="black"/>
                </a:solidFill>
                <a:effectLst/>
                <a:uLnTx/>
                <a:uFillTx/>
                <a:latin typeface="Calibri"/>
                <a:ea typeface="+mn-ea"/>
                <a:cs typeface="+mn-cs"/>
              </a:rPr>
              <a:t>  25</a:t>
            </a:r>
            <a:r>
              <a:rPr kumimoji="0" lang="pl-PL" sz="1200" b="0" i="0" u="none" strike="noStrike" kern="1200" cap="none" spc="0" normalizeH="0" baseline="0" noProof="0" dirty="0">
                <a:ln>
                  <a:noFill/>
                </a:ln>
                <a:solidFill>
                  <a:prstClr val="black"/>
                </a:solidFill>
                <a:effectLst/>
                <a:uLnTx/>
                <a:uFillTx/>
                <a:latin typeface="Calibri"/>
                <a:ea typeface="+mn-ea"/>
                <a:cs typeface="+mn-cs"/>
              </a:rPr>
              <a:t> </a:t>
            </a:r>
            <a:r>
              <a:rPr kumimoji="0" lang="en-GB" sz="1200" b="0" i="0" u="none" strike="noStrike" kern="1200" cap="none" spc="0" normalizeH="0" baseline="0" noProof="0" dirty="0">
                <a:ln>
                  <a:noFill/>
                </a:ln>
                <a:solidFill>
                  <a:prstClr val="black"/>
                </a:solidFill>
                <a:effectLst/>
                <a:uLnTx/>
                <a:uFillTx/>
                <a:latin typeface="Calibri"/>
                <a:ea typeface="+mn-ea"/>
                <a:cs typeface="+mn-cs"/>
              </a:rPr>
              <a:t>Hz</a:t>
            </a:r>
            <a:r>
              <a:rPr kumimoji="0" lang="pl-PL" sz="1200" b="0" i="0" u="none" strike="noStrike" kern="1200" cap="none" spc="0" normalizeH="0" baseline="0" noProof="0" dirty="0">
                <a:ln>
                  <a:noFill/>
                </a:ln>
                <a:solidFill>
                  <a:prstClr val="black"/>
                </a:solidFill>
                <a:effectLst/>
                <a:uLnTx/>
                <a:uFillTx/>
                <a:latin typeface="Calibri"/>
                <a:ea typeface="+mn-ea"/>
                <a:cs typeface="+mn-cs"/>
              </a:rPr>
              <a:t> and 200 Hz</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9040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609" y="82253"/>
            <a:ext cx="7543800" cy="342900"/>
          </a:xfrm>
        </p:spPr>
        <p:txBody>
          <a:bodyPr/>
          <a:lstStyle/>
          <a:p>
            <a:r>
              <a:rPr lang="de-DE" dirty="0"/>
              <a:t>Milestones 2023</a:t>
            </a:r>
          </a:p>
        </p:txBody>
      </p:sp>
      <p:sp>
        <p:nvSpPr>
          <p:cNvPr id="14" name="Inhaltsplatzhalter 13">
            <a:extLst>
              <a:ext uri="{FF2B5EF4-FFF2-40B4-BE49-F238E27FC236}">
                <a16:creationId xmlns:a16="http://schemas.microsoft.com/office/drawing/2014/main" id="{8BE165C6-AE0B-9EC1-5708-C79AC4BB3F77}"/>
              </a:ext>
            </a:extLst>
          </p:cNvPr>
          <p:cNvSpPr>
            <a:spLocks noGrp="1"/>
          </p:cNvSpPr>
          <p:nvPr>
            <p:ph idx="1"/>
          </p:nvPr>
        </p:nvSpPr>
        <p:spPr/>
        <p:txBody>
          <a:bodyPr/>
          <a:lstStyle/>
          <a:p>
            <a:endParaRPr lang="en-GB"/>
          </a:p>
        </p:txBody>
      </p:sp>
      <p:graphicFrame>
        <p:nvGraphicFramePr>
          <p:cNvPr id="4" name="Tabelle 3">
            <a:extLst>
              <a:ext uri="{FF2B5EF4-FFF2-40B4-BE49-F238E27FC236}">
                <a16:creationId xmlns:a16="http://schemas.microsoft.com/office/drawing/2014/main" id="{0611C6C4-AD1F-21CE-9301-7CBDBCBEB49F}"/>
              </a:ext>
            </a:extLst>
          </p:cNvPr>
          <p:cNvGraphicFramePr>
            <a:graphicFrameLocks noGrp="1"/>
          </p:cNvGraphicFramePr>
          <p:nvPr/>
        </p:nvGraphicFramePr>
        <p:xfrm>
          <a:off x="683568" y="1203598"/>
          <a:ext cx="7543799" cy="3394074"/>
        </p:xfrm>
        <a:graphic>
          <a:graphicData uri="http://schemas.openxmlformats.org/drawingml/2006/table">
            <a:tbl>
              <a:tblPr firstRow="1" firstCol="1" bandRow="1">
                <a:tableStyleId>{5C22544A-7EE6-4342-B048-85BDC9FD1C3A}</a:tableStyleId>
              </a:tblPr>
              <a:tblGrid>
                <a:gridCol w="1422681">
                  <a:extLst>
                    <a:ext uri="{9D8B030D-6E8A-4147-A177-3AD203B41FA5}">
                      <a16:colId xmlns:a16="http://schemas.microsoft.com/office/drawing/2014/main" val="2535868362"/>
                    </a:ext>
                  </a:extLst>
                </a:gridCol>
                <a:gridCol w="1171620">
                  <a:extLst>
                    <a:ext uri="{9D8B030D-6E8A-4147-A177-3AD203B41FA5}">
                      <a16:colId xmlns:a16="http://schemas.microsoft.com/office/drawing/2014/main" val="3903067233"/>
                    </a:ext>
                  </a:extLst>
                </a:gridCol>
                <a:gridCol w="3372593">
                  <a:extLst>
                    <a:ext uri="{9D8B030D-6E8A-4147-A177-3AD203B41FA5}">
                      <a16:colId xmlns:a16="http://schemas.microsoft.com/office/drawing/2014/main" val="357959631"/>
                    </a:ext>
                  </a:extLst>
                </a:gridCol>
                <a:gridCol w="1576905">
                  <a:extLst>
                    <a:ext uri="{9D8B030D-6E8A-4147-A177-3AD203B41FA5}">
                      <a16:colId xmlns:a16="http://schemas.microsoft.com/office/drawing/2014/main" val="1246897908"/>
                    </a:ext>
                  </a:extLst>
                </a:gridCol>
              </a:tblGrid>
              <a:tr h="337680">
                <a:tc>
                  <a:txBody>
                    <a:bodyPr/>
                    <a:lstStyle/>
                    <a:p>
                      <a:pPr algn="ctr">
                        <a:lnSpc>
                          <a:spcPct val="115000"/>
                        </a:lnSpc>
                        <a:spcBef>
                          <a:spcPts val="200"/>
                        </a:spcBef>
                        <a:spcAft>
                          <a:spcPts val="200"/>
                        </a:spcAft>
                      </a:pPr>
                      <a:r>
                        <a:rPr lang="en-US" sz="900">
                          <a:effectLst/>
                        </a:rPr>
                        <a:t>Sequential</a:t>
                      </a:r>
                      <a:endParaRPr lang="de-DE" sz="900">
                        <a:effectLst/>
                      </a:endParaRPr>
                    </a:p>
                    <a:p>
                      <a:pPr>
                        <a:lnSpc>
                          <a:spcPct val="115000"/>
                        </a:lnSpc>
                        <a:spcAft>
                          <a:spcPts val="300"/>
                        </a:spcAft>
                      </a:pPr>
                      <a:r>
                        <a:rPr lang="en-US" sz="900">
                          <a:effectLst/>
                        </a:rPr>
                        <a:t>WP-M ID</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gn="ctr">
                        <a:lnSpc>
                          <a:spcPct val="115000"/>
                        </a:lnSpc>
                        <a:spcBef>
                          <a:spcPts val="200"/>
                        </a:spcBef>
                        <a:spcAft>
                          <a:spcPts val="200"/>
                        </a:spcAft>
                      </a:pPr>
                      <a:r>
                        <a:rPr lang="en-US" sz="900">
                          <a:effectLst/>
                        </a:rPr>
                        <a:t>Related</a:t>
                      </a:r>
                      <a:endParaRPr lang="de-DE" sz="900">
                        <a:effectLst/>
                      </a:endParaRPr>
                    </a:p>
                    <a:p>
                      <a:pPr>
                        <a:lnSpc>
                          <a:spcPct val="115000"/>
                        </a:lnSpc>
                        <a:spcAft>
                          <a:spcPts val="300"/>
                        </a:spcAft>
                      </a:pPr>
                      <a:r>
                        <a:rPr lang="en-US" sz="900">
                          <a:effectLst/>
                        </a:rPr>
                        <a:t>WBS ID</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US" sz="900">
                          <a:effectLst/>
                        </a:rPr>
                        <a:t>WP Milestone Title</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gn="ctr">
                        <a:lnSpc>
                          <a:spcPct val="115000"/>
                        </a:lnSpc>
                        <a:spcBef>
                          <a:spcPts val="200"/>
                        </a:spcBef>
                        <a:spcAft>
                          <a:spcPts val="200"/>
                        </a:spcAft>
                      </a:pPr>
                      <a:r>
                        <a:rPr lang="en-US" sz="900">
                          <a:effectLst/>
                        </a:rPr>
                        <a:t>Due Date</a:t>
                      </a:r>
                      <a:endParaRPr lang="de-DE" sz="900">
                        <a:effectLst/>
                      </a:endParaRPr>
                    </a:p>
                    <a:p>
                      <a:pPr>
                        <a:lnSpc>
                          <a:spcPct val="115000"/>
                        </a:lnSpc>
                        <a:spcAft>
                          <a:spcPts val="300"/>
                        </a:spcAft>
                      </a:pPr>
                      <a:r>
                        <a:rPr lang="en-US" sz="900">
                          <a:effectLst/>
                        </a:rPr>
                        <a:t>[mm/yyyy]</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extLst>
                  <a:ext uri="{0D108BD9-81ED-4DB2-BD59-A6C34878D82A}">
                    <a16:rowId xmlns:a16="http://schemas.microsoft.com/office/drawing/2014/main" val="752252328"/>
                  </a:ext>
                </a:extLst>
              </a:tr>
              <a:tr h="967704">
                <a:tc>
                  <a:txBody>
                    <a:bodyPr/>
                    <a:lstStyle/>
                    <a:p>
                      <a:pPr>
                        <a:lnSpc>
                          <a:spcPct val="115000"/>
                        </a:lnSpc>
                        <a:spcAft>
                          <a:spcPts val="300"/>
                        </a:spcAft>
                      </a:pPr>
                      <a:r>
                        <a:rPr lang="en-GB" sz="900">
                          <a:effectLst/>
                        </a:rPr>
                        <a:t>WM53</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SP A</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Viability of advanced plasma-facing materials for DEMO-assessed including prototype materials such as W VPS on steel (with WPBB). Lifetime assessment linked to WEST, MAGNUM-PSI, GLADIS and JUDITH testing. (DEMO)</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31.12.2023  </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extLst>
                  <a:ext uri="{0D108BD9-81ED-4DB2-BD59-A6C34878D82A}">
                    <a16:rowId xmlns:a16="http://schemas.microsoft.com/office/drawing/2014/main" val="3874929398"/>
                  </a:ext>
                </a:extLst>
              </a:tr>
              <a:tr h="804820">
                <a:tc>
                  <a:txBody>
                    <a:bodyPr/>
                    <a:lstStyle/>
                    <a:p>
                      <a:pPr>
                        <a:lnSpc>
                          <a:spcPct val="115000"/>
                        </a:lnSpc>
                        <a:spcAft>
                          <a:spcPts val="300"/>
                        </a:spcAft>
                      </a:pPr>
                      <a:r>
                        <a:rPr lang="en-GB" sz="900">
                          <a:effectLst/>
                        </a:rPr>
                        <a:t>WM54</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SP A</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Characterisation of exposed WEST W-PFCs regarding recrystallization and damage. Further studies on material recrystallization physics incl. µ-CT studies (ITER).</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dirty="0">
                          <a:effectLst/>
                        </a:rPr>
                        <a:t>31.12.2023  </a:t>
                      </a:r>
                      <a:endParaRPr lang="de-DE" sz="900" dirty="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extLst>
                  <a:ext uri="{0D108BD9-81ED-4DB2-BD59-A6C34878D82A}">
                    <a16:rowId xmlns:a16="http://schemas.microsoft.com/office/drawing/2014/main" val="851464129"/>
                  </a:ext>
                </a:extLst>
              </a:tr>
              <a:tr h="641935">
                <a:tc>
                  <a:txBody>
                    <a:bodyPr/>
                    <a:lstStyle/>
                    <a:p>
                      <a:pPr>
                        <a:lnSpc>
                          <a:spcPct val="115000"/>
                        </a:lnSpc>
                        <a:spcAft>
                          <a:spcPts val="300"/>
                        </a:spcAft>
                      </a:pPr>
                      <a:r>
                        <a:rPr lang="en-GB" sz="900">
                          <a:effectLst/>
                        </a:rPr>
                        <a:t>WM55</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SP A</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Exposure of DEMO baseline W mono-blocks (from WPDIV) in MAGNUM-PSI at high plasms fluence and mixed seeding species (DEMO)</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31.12.2023  </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extLst>
                  <a:ext uri="{0D108BD9-81ED-4DB2-BD59-A6C34878D82A}">
                    <a16:rowId xmlns:a16="http://schemas.microsoft.com/office/drawing/2014/main" val="2979021984"/>
                  </a:ext>
                </a:extLst>
              </a:tr>
              <a:tr h="641935">
                <a:tc>
                  <a:txBody>
                    <a:bodyPr/>
                    <a:lstStyle/>
                    <a:p>
                      <a:pPr>
                        <a:lnSpc>
                          <a:spcPct val="115000"/>
                        </a:lnSpc>
                        <a:spcAft>
                          <a:spcPts val="300"/>
                        </a:spcAft>
                      </a:pPr>
                      <a:r>
                        <a:rPr lang="en-GB" sz="900">
                          <a:effectLst/>
                        </a:rPr>
                        <a:t>WM56</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SP A</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a:effectLst/>
                        </a:rPr>
                        <a:t>Benchmark of MEMOS-U and new MEMENTO code with W melt experiments in ASDEX Upgrade and WEST (with WPTE). (ITER+DEMO)</a:t>
                      </a:r>
                      <a:endParaRPr lang="de-DE" sz="90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tc>
                  <a:txBody>
                    <a:bodyPr/>
                    <a:lstStyle/>
                    <a:p>
                      <a:pPr>
                        <a:lnSpc>
                          <a:spcPct val="115000"/>
                        </a:lnSpc>
                        <a:spcAft>
                          <a:spcPts val="300"/>
                        </a:spcAft>
                      </a:pPr>
                      <a:r>
                        <a:rPr lang="en-GB" sz="900" dirty="0">
                          <a:effectLst/>
                        </a:rPr>
                        <a:t>31.12.2023</a:t>
                      </a:r>
                      <a:endParaRPr lang="de-DE" sz="900" dirty="0">
                        <a:effectLst/>
                        <a:latin typeface="Calibri" panose="020F0502020204030204" pitchFamily="34" charset="0"/>
                        <a:ea typeface="SimSun" panose="02010600030101010101" pitchFamily="2" charset="-122"/>
                        <a:cs typeface="Arial" panose="020B0604020202020204" pitchFamily="34" charset="0"/>
                      </a:endParaRPr>
                    </a:p>
                  </a:txBody>
                  <a:tcPr marL="57943" marR="57943" marT="0" marB="0"/>
                </a:tc>
                <a:extLst>
                  <a:ext uri="{0D108BD9-81ED-4DB2-BD59-A6C34878D82A}">
                    <a16:rowId xmlns:a16="http://schemas.microsoft.com/office/drawing/2014/main" val="4168200314"/>
                  </a:ext>
                </a:extLst>
              </a:tr>
            </a:tbl>
          </a:graphicData>
        </a:graphic>
      </p:graphicFrame>
      <p:sp>
        <p:nvSpPr>
          <p:cNvPr id="3" name="Fußzeilenplatzhalter 3">
            <a:extLst>
              <a:ext uri="{FF2B5EF4-FFF2-40B4-BE49-F238E27FC236}">
                <a16:creationId xmlns:a16="http://schemas.microsoft.com/office/drawing/2014/main" id="{88946953-5BFC-4608-1506-FAB759DC1E41}"/>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7.2024 | Page </a:t>
            </a:r>
            <a:fld id="{6A6D9FA1-99C7-4910-8E32-B85D378B0060}" type="slidenum">
              <a:rPr lang="en-GB" smtClean="0"/>
              <a:pPr algn="r"/>
              <a:t>3</a:t>
            </a:fld>
            <a:endParaRPr lang="en-GB" dirty="0"/>
          </a:p>
        </p:txBody>
      </p:sp>
    </p:spTree>
    <p:extLst>
      <p:ext uri="{BB962C8B-B14F-4D97-AF65-F5344CB8AC3E}">
        <p14:creationId xmlns:p14="http://schemas.microsoft.com/office/powerpoint/2010/main" val="26057721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Image 92"/>
          <p:cNvPicPr>
            <a:picLocks noChangeAspect="1"/>
          </p:cNvPicPr>
          <p:nvPr/>
        </p:nvPicPr>
        <p:blipFill>
          <a:blip r:embed="rId2"/>
          <a:stretch>
            <a:fillRect/>
          </a:stretch>
        </p:blipFill>
        <p:spPr>
          <a:xfrm>
            <a:off x="3658463" y="1842228"/>
            <a:ext cx="2948306" cy="1944793"/>
          </a:xfrm>
          <a:prstGeom prst="rect">
            <a:avLst/>
          </a:prstGeom>
        </p:spPr>
      </p:pic>
      <p:pic>
        <p:nvPicPr>
          <p:cNvPr id="92" name="Image 91"/>
          <p:cNvPicPr>
            <a:picLocks noChangeAspect="1"/>
          </p:cNvPicPr>
          <p:nvPr/>
        </p:nvPicPr>
        <p:blipFill rotWithShape="1">
          <a:blip r:embed="rId3"/>
          <a:srcRect l="2562" t="5473" r="11757"/>
          <a:stretch/>
        </p:blipFill>
        <p:spPr>
          <a:xfrm rot="16200000">
            <a:off x="90586" y="1052413"/>
            <a:ext cx="1433900" cy="1186448"/>
          </a:xfrm>
          <a:prstGeom prst="rect">
            <a:avLst/>
          </a:prstGeom>
        </p:spPr>
      </p:pic>
      <p:pic>
        <p:nvPicPr>
          <p:cNvPr id="94" name="Image 93"/>
          <p:cNvPicPr>
            <a:picLocks noChangeAspect="1"/>
          </p:cNvPicPr>
          <p:nvPr/>
        </p:nvPicPr>
        <p:blipFill rotWithShape="1">
          <a:blip r:embed="rId4" cstate="hqprint">
            <a:extLst>
              <a:ext uri="{28A0092B-C50C-407E-A947-70E740481C1C}">
                <a14:useLocalDpi xmlns:a14="http://schemas.microsoft.com/office/drawing/2010/main" val="0"/>
              </a:ext>
            </a:extLst>
          </a:blip>
          <a:srcRect l="5312" r="9696"/>
          <a:stretch/>
        </p:blipFill>
        <p:spPr>
          <a:xfrm rot="16200000">
            <a:off x="1281487" y="1006289"/>
            <a:ext cx="1441574" cy="1272078"/>
          </a:xfrm>
          <a:prstGeom prst="rect">
            <a:avLst/>
          </a:prstGeom>
        </p:spPr>
      </p:pic>
      <p:sp>
        <p:nvSpPr>
          <p:cNvPr id="96" name="ZoneTexte 95"/>
          <p:cNvSpPr txBox="1"/>
          <p:nvPr/>
        </p:nvSpPr>
        <p:spPr>
          <a:xfrm>
            <a:off x="1094374" y="933284"/>
            <a:ext cx="1582484" cy="369332"/>
          </a:xfrm>
          <a:prstGeom prst="rect">
            <a:avLst/>
          </a:prstGeom>
          <a:noFill/>
        </p:spPr>
        <p:txBody>
          <a:bodyPr wrap="none" rtlCol="0">
            <a:spAutoFit/>
          </a:bodyPr>
          <a:lstStyle/>
          <a:p>
            <a:pPr defTabSz="685800"/>
            <a:r>
              <a:rPr lang="fr-FR" dirty="0" err="1">
                <a:solidFill>
                  <a:srgbClr val="FFFF00"/>
                </a:solidFill>
                <a:latin typeface="Arial"/>
              </a:rPr>
              <a:t>Leading</a:t>
            </a:r>
            <a:r>
              <a:rPr lang="fr-FR" dirty="0">
                <a:solidFill>
                  <a:srgbClr val="FFFF00"/>
                </a:solidFill>
                <a:latin typeface="Arial"/>
              </a:rPr>
              <a:t> </a:t>
            </a:r>
            <a:r>
              <a:rPr lang="fr-FR" dirty="0" err="1">
                <a:solidFill>
                  <a:srgbClr val="FFFF00"/>
                </a:solidFill>
                <a:latin typeface="Arial"/>
              </a:rPr>
              <a:t>edge</a:t>
            </a:r>
            <a:endParaRPr lang="en-US" dirty="0">
              <a:solidFill>
                <a:srgbClr val="FFFF00"/>
              </a:solidFill>
              <a:latin typeface="Arial"/>
            </a:endParaRPr>
          </a:p>
        </p:txBody>
      </p:sp>
      <p:sp>
        <p:nvSpPr>
          <p:cNvPr id="4" name="Espace réservé du numéro de diapositive 3"/>
          <p:cNvSpPr>
            <a:spLocks noGrp="1"/>
          </p:cNvSpPr>
          <p:nvPr>
            <p:ph type="sldNum" sz="quarter" idx="12"/>
          </p:nvPr>
        </p:nvSpPr>
        <p:spPr/>
        <p:txBody>
          <a:bodyPr/>
          <a:lstStyle/>
          <a:p>
            <a:pPr defTabSz="685800"/>
            <a:fld id="{0CBC77A0-1F4E-42FF-9FFC-F45C3A64AF90}" type="slidenum">
              <a:rPr lang="fr-FR">
                <a:solidFill>
                  <a:srgbClr val="E50019"/>
                </a:solidFill>
                <a:latin typeface="Arial"/>
              </a:rPr>
              <a:pPr defTabSz="685800"/>
              <a:t>30</a:t>
            </a:fld>
            <a:endParaRPr lang="fr-FR">
              <a:solidFill>
                <a:srgbClr val="E50019"/>
              </a:solidFill>
              <a:latin typeface="Arial"/>
            </a:endParaRPr>
          </a:p>
        </p:txBody>
      </p:sp>
      <p:sp>
        <p:nvSpPr>
          <p:cNvPr id="7" name="Espace réservé du numéro de diapositive 4"/>
          <p:cNvSpPr txBox="1">
            <a:spLocks/>
          </p:cNvSpPr>
          <p:nvPr/>
        </p:nvSpPr>
        <p:spPr>
          <a:xfrm>
            <a:off x="0" y="0"/>
            <a:ext cx="0" cy="0"/>
          </a:xfrm>
          <a:prstGeom prst="rect">
            <a:avLst/>
          </a:prstGeom>
        </p:spPr>
        <p:txBody>
          <a:bodyPr vert="horz" lIns="68580" tIns="34290" rIns="68580" bIns="34290" rtlCol="0" anchor="ctr"/>
          <a:lstStyle>
            <a:defPPr>
              <a:defRPr lang="fr-FR"/>
            </a:defPPr>
            <a:lvl1pPr marL="0" algn="r" defTabSz="914400" rtl="0" eaLnBrk="1" latinLnBrk="0" hangingPunct="1">
              <a:defRPr sz="12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a:fld id="{A9559F0C-F440-4BC1-91BE-A65E5373B4E5}" type="slidenum">
              <a:rPr lang="fr-FR" sz="900">
                <a:solidFill>
                  <a:srgbClr val="E50019"/>
                </a:solidFill>
                <a:latin typeface="Arial"/>
              </a:rPr>
              <a:pPr defTabSz="685800"/>
              <a:t>30</a:t>
            </a:fld>
            <a:endParaRPr lang="fr-FR" sz="900">
              <a:solidFill>
                <a:srgbClr val="E50019"/>
              </a:solidFill>
              <a:latin typeface="Arial"/>
            </a:endParaRPr>
          </a:p>
        </p:txBody>
      </p:sp>
      <p:sp>
        <p:nvSpPr>
          <p:cNvPr id="49" name="Titre 5">
            <a:extLst>
              <a:ext uri="{FF2B5EF4-FFF2-40B4-BE49-F238E27FC236}">
                <a16:creationId xmlns:a16="http://schemas.microsoft.com/office/drawing/2014/main" id="{91AE047D-F51A-E955-9889-3B1336B75E09}"/>
              </a:ext>
            </a:extLst>
          </p:cNvPr>
          <p:cNvSpPr>
            <a:spLocks noGrp="1"/>
          </p:cNvSpPr>
          <p:nvPr>
            <p:ph type="title"/>
          </p:nvPr>
        </p:nvSpPr>
        <p:spPr>
          <a:xfrm>
            <a:off x="18118" y="-15927"/>
            <a:ext cx="9183032" cy="653870"/>
          </a:xfrm>
        </p:spPr>
        <p:txBody>
          <a:bodyPr>
            <a:noAutofit/>
          </a:bodyPr>
          <a:lstStyle/>
          <a:p>
            <a:r>
              <a:rPr lang="en-GB" sz="1650" dirty="0"/>
              <a:t>Assessment of plasma impact on W material properties linked to</a:t>
            </a:r>
            <a:br>
              <a:rPr lang="en-GB" sz="1650" dirty="0"/>
            </a:br>
            <a:r>
              <a:rPr lang="en-GB" sz="1650" dirty="0"/>
              <a:t>ITER relevant PFUs:</a:t>
            </a:r>
            <a:r>
              <a:rPr lang="en-US" sz="1650" dirty="0"/>
              <a:t> WEST ITER-Like divertor recrystallization </a:t>
            </a:r>
            <a:r>
              <a:rPr lang="en-US" sz="1200" dirty="0"/>
              <a:t>(MB24, WERI002)</a:t>
            </a:r>
            <a:endParaRPr lang="fr-FR" sz="1650" dirty="0"/>
          </a:p>
        </p:txBody>
      </p:sp>
      <p:sp>
        <p:nvSpPr>
          <p:cNvPr id="61" name="ZoneTexte 60"/>
          <p:cNvSpPr txBox="1"/>
          <p:nvPr/>
        </p:nvSpPr>
        <p:spPr>
          <a:xfrm>
            <a:off x="1940759" y="1240803"/>
            <a:ext cx="740908" cy="369332"/>
          </a:xfrm>
          <a:prstGeom prst="rect">
            <a:avLst/>
          </a:prstGeom>
          <a:noFill/>
        </p:spPr>
        <p:txBody>
          <a:bodyPr wrap="none" rtlCol="0">
            <a:spAutoFit/>
          </a:bodyPr>
          <a:lstStyle/>
          <a:p>
            <a:pPr defTabSz="457189"/>
            <a:r>
              <a:rPr lang="fr-FR" dirty="0">
                <a:solidFill>
                  <a:prstClr val="white"/>
                </a:solidFill>
                <a:latin typeface="Calibri"/>
              </a:rPr>
              <a:t>MB24</a:t>
            </a:r>
            <a:endParaRPr lang="en-US" dirty="0">
              <a:solidFill>
                <a:prstClr val="white"/>
              </a:solidFill>
              <a:latin typeface="Calibri"/>
            </a:endParaRPr>
          </a:p>
        </p:txBody>
      </p:sp>
      <p:grpSp>
        <p:nvGrpSpPr>
          <p:cNvPr id="21" name="Groupe 20"/>
          <p:cNvGrpSpPr/>
          <p:nvPr/>
        </p:nvGrpSpPr>
        <p:grpSpPr>
          <a:xfrm>
            <a:off x="83973" y="2609032"/>
            <a:ext cx="694942" cy="673405"/>
            <a:chOff x="10036" y="1814381"/>
            <a:chExt cx="926589" cy="897873"/>
          </a:xfrm>
        </p:grpSpPr>
        <p:cxnSp>
          <p:nvCxnSpPr>
            <p:cNvPr id="68" name="Connecteur droit avec flèche 67"/>
            <p:cNvCxnSpPr/>
            <p:nvPr/>
          </p:nvCxnSpPr>
          <p:spPr>
            <a:xfrm>
              <a:off x="206547" y="2408505"/>
              <a:ext cx="324000" cy="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69" name="ZoneTexte 68"/>
            <p:cNvSpPr txBox="1"/>
            <p:nvPr/>
          </p:nvSpPr>
          <p:spPr>
            <a:xfrm flipH="1">
              <a:off x="337435" y="2312145"/>
              <a:ext cx="599190" cy="400109"/>
            </a:xfrm>
            <a:prstGeom prst="rect">
              <a:avLst/>
            </a:prstGeom>
            <a:noFill/>
          </p:spPr>
          <p:txBody>
            <a:bodyPr wrap="square" rtlCol="0">
              <a:spAutoFit/>
            </a:bodyPr>
            <a:lstStyle/>
            <a:p>
              <a:pPr defTabSz="457189"/>
              <a:r>
                <a:rPr lang="fr-FR" sz="1350" b="1" dirty="0">
                  <a:solidFill>
                    <a:prstClr val="black"/>
                  </a:solidFill>
                  <a:latin typeface="Calibri"/>
                </a:rPr>
                <a:t>z</a:t>
              </a:r>
            </a:p>
          </p:txBody>
        </p:sp>
        <p:sp>
          <p:nvSpPr>
            <p:cNvPr id="70" name="ZoneTexte 69"/>
            <p:cNvSpPr txBox="1"/>
            <p:nvPr/>
          </p:nvSpPr>
          <p:spPr>
            <a:xfrm flipH="1">
              <a:off x="10036" y="1814381"/>
              <a:ext cx="599190" cy="369332"/>
            </a:xfrm>
            <a:prstGeom prst="rect">
              <a:avLst/>
            </a:prstGeom>
            <a:noFill/>
          </p:spPr>
          <p:txBody>
            <a:bodyPr wrap="square" rtlCol="0">
              <a:spAutoFit/>
            </a:bodyPr>
            <a:lstStyle/>
            <a:p>
              <a:pPr defTabSz="457189"/>
              <a:r>
                <a:rPr lang="fr-FR" sz="1200" b="1" dirty="0">
                  <a:solidFill>
                    <a:prstClr val="black"/>
                  </a:solidFill>
                  <a:latin typeface="Calibri"/>
                </a:rPr>
                <a:t>y</a:t>
              </a:r>
            </a:p>
          </p:txBody>
        </p:sp>
        <p:cxnSp>
          <p:nvCxnSpPr>
            <p:cNvPr id="71" name="Connecteur droit avec flèche 70"/>
            <p:cNvCxnSpPr/>
            <p:nvPr/>
          </p:nvCxnSpPr>
          <p:spPr>
            <a:xfrm flipV="1">
              <a:off x="191723" y="2048505"/>
              <a:ext cx="0" cy="360000"/>
            </a:xfrm>
            <a:prstGeom prst="straightConnector1">
              <a:avLst/>
            </a:prstGeom>
            <a:ln>
              <a:solidFill>
                <a:schemeClr val="tx1"/>
              </a:solidFill>
              <a:tailEnd type="triangle"/>
            </a:ln>
          </p:spPr>
          <p:style>
            <a:lnRef idx="2">
              <a:schemeClr val="accent1"/>
            </a:lnRef>
            <a:fillRef idx="0">
              <a:schemeClr val="accent1"/>
            </a:fillRef>
            <a:effectRef idx="1">
              <a:schemeClr val="accent1"/>
            </a:effectRef>
            <a:fontRef idx="minor">
              <a:schemeClr val="tx1"/>
            </a:fontRef>
          </p:style>
        </p:cxnSp>
      </p:grpSp>
      <p:sp>
        <p:nvSpPr>
          <p:cNvPr id="86" name="Ellipse 85"/>
          <p:cNvSpPr/>
          <p:nvPr/>
        </p:nvSpPr>
        <p:spPr>
          <a:xfrm>
            <a:off x="145619" y="908510"/>
            <a:ext cx="271100" cy="311885"/>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fr-FR">
              <a:solidFill>
                <a:srgbClr val="FF0000"/>
              </a:solidFill>
              <a:latin typeface="Calibri"/>
            </a:endParaRPr>
          </a:p>
        </p:txBody>
      </p:sp>
      <p:sp>
        <p:nvSpPr>
          <p:cNvPr id="87" name="ZoneTexte 86"/>
          <p:cNvSpPr txBox="1"/>
          <p:nvPr/>
        </p:nvSpPr>
        <p:spPr>
          <a:xfrm>
            <a:off x="-6081" y="466288"/>
            <a:ext cx="653250" cy="923330"/>
          </a:xfrm>
          <a:prstGeom prst="rect">
            <a:avLst/>
          </a:prstGeom>
          <a:noFill/>
        </p:spPr>
        <p:txBody>
          <a:bodyPr wrap="square" rtlCol="0">
            <a:spAutoFit/>
          </a:bodyPr>
          <a:lstStyle/>
          <a:p>
            <a:pPr defTabSz="457189"/>
            <a:r>
              <a:rPr lang="fr-FR" sz="1350" dirty="0" err="1">
                <a:solidFill>
                  <a:srgbClr val="262626"/>
                </a:solidFill>
                <a:latin typeface="Calibri"/>
              </a:rPr>
              <a:t>Melted</a:t>
            </a:r>
            <a:r>
              <a:rPr lang="fr-FR" sz="1350" dirty="0">
                <a:solidFill>
                  <a:srgbClr val="262626"/>
                </a:solidFill>
                <a:latin typeface="Calibri"/>
              </a:rPr>
              <a:t> </a:t>
            </a:r>
            <a:r>
              <a:rPr lang="fr-FR" sz="1350" dirty="0" err="1">
                <a:solidFill>
                  <a:srgbClr val="262626"/>
                </a:solidFill>
                <a:latin typeface="Calibri"/>
              </a:rPr>
              <a:t>droplet</a:t>
            </a:r>
            <a:endParaRPr lang="fr-FR" sz="1350" dirty="0">
              <a:solidFill>
                <a:srgbClr val="262626"/>
              </a:solidFill>
              <a:latin typeface="Calibri"/>
            </a:endParaRPr>
          </a:p>
        </p:txBody>
      </p:sp>
      <p:cxnSp>
        <p:nvCxnSpPr>
          <p:cNvPr id="88" name="Connecteur droit avec flèche 87"/>
          <p:cNvCxnSpPr/>
          <p:nvPr/>
        </p:nvCxnSpPr>
        <p:spPr>
          <a:xfrm>
            <a:off x="265860" y="1664978"/>
            <a:ext cx="2270448" cy="2100"/>
          </a:xfrm>
          <a:prstGeom prst="straightConnector1">
            <a:avLst/>
          </a:prstGeom>
          <a:ln w="28575">
            <a:solidFill>
              <a:schemeClr val="bg1"/>
            </a:solidFill>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89" name="ZoneTexte 88"/>
          <p:cNvSpPr txBox="1"/>
          <p:nvPr/>
        </p:nvSpPr>
        <p:spPr>
          <a:xfrm>
            <a:off x="1023125" y="1594259"/>
            <a:ext cx="840295" cy="369332"/>
          </a:xfrm>
          <a:prstGeom prst="rect">
            <a:avLst/>
          </a:prstGeom>
          <a:noFill/>
        </p:spPr>
        <p:txBody>
          <a:bodyPr wrap="none" rtlCol="0">
            <a:spAutoFit/>
          </a:bodyPr>
          <a:lstStyle/>
          <a:p>
            <a:pPr defTabSz="457189"/>
            <a:r>
              <a:rPr lang="fr-FR" dirty="0">
                <a:solidFill>
                  <a:prstClr val="white"/>
                </a:solidFill>
                <a:latin typeface="Calibri"/>
              </a:rPr>
              <a:t>12 mm</a:t>
            </a:r>
          </a:p>
        </p:txBody>
      </p:sp>
      <p:sp>
        <p:nvSpPr>
          <p:cNvPr id="38" name="Espace réservé du contenu 6">
            <a:extLst>
              <a:ext uri="{FF2B5EF4-FFF2-40B4-BE49-F238E27FC236}">
                <a16:creationId xmlns:a16="http://schemas.microsoft.com/office/drawing/2014/main" id="{69904E05-C7BF-272F-1F49-76572513FD57}"/>
              </a:ext>
            </a:extLst>
          </p:cNvPr>
          <p:cNvSpPr>
            <a:spLocks noGrp="1"/>
          </p:cNvSpPr>
          <p:nvPr>
            <p:ph idx="1"/>
          </p:nvPr>
        </p:nvSpPr>
        <p:spPr>
          <a:xfrm>
            <a:off x="2785720" y="546481"/>
            <a:ext cx="7328513" cy="477176"/>
          </a:xfrm>
        </p:spPr>
        <p:txBody>
          <a:bodyPr>
            <a:noAutofit/>
          </a:bodyPr>
          <a:lstStyle/>
          <a:p>
            <a:pPr lvl="1"/>
            <a:r>
              <a:rPr lang="fr-FR" sz="1500" dirty="0">
                <a:solidFill>
                  <a:srgbClr val="000000"/>
                </a:solidFill>
                <a:latin typeface="Calibri"/>
              </a:rPr>
              <a:t>Cracks </a:t>
            </a:r>
            <a:r>
              <a:rPr lang="fr-FR" sz="1500" dirty="0" err="1">
                <a:solidFill>
                  <a:srgbClr val="000000"/>
                </a:solidFill>
                <a:latin typeface="Calibri"/>
              </a:rPr>
              <a:t>along</a:t>
            </a:r>
            <a:r>
              <a:rPr lang="fr-FR" sz="1500" dirty="0">
                <a:solidFill>
                  <a:srgbClr val="000000"/>
                </a:solidFill>
                <a:latin typeface="Calibri"/>
              </a:rPr>
              <a:t> the </a:t>
            </a:r>
            <a:r>
              <a:rPr lang="fr-FR" sz="1500" dirty="0" err="1">
                <a:solidFill>
                  <a:srgbClr val="000000"/>
                </a:solidFill>
                <a:latin typeface="Calibri"/>
              </a:rPr>
              <a:t>leading</a:t>
            </a:r>
            <a:r>
              <a:rPr lang="fr-FR" sz="1500" dirty="0">
                <a:solidFill>
                  <a:srgbClr val="000000"/>
                </a:solidFill>
                <a:latin typeface="Calibri"/>
              </a:rPr>
              <a:t> </a:t>
            </a:r>
            <a:r>
              <a:rPr lang="fr-FR" sz="1500" dirty="0" err="1">
                <a:solidFill>
                  <a:srgbClr val="000000"/>
                </a:solidFill>
                <a:latin typeface="Calibri"/>
              </a:rPr>
              <a:t>edge</a:t>
            </a:r>
            <a:r>
              <a:rPr lang="fr-FR" sz="1500" dirty="0">
                <a:solidFill>
                  <a:srgbClr val="000000"/>
                </a:solidFill>
                <a:latin typeface="Calibri"/>
              </a:rPr>
              <a:t> (LE) have been </a:t>
            </a:r>
            <a:r>
              <a:rPr lang="fr-FR" sz="1500" dirty="0" err="1">
                <a:solidFill>
                  <a:srgbClr val="000000"/>
                </a:solidFill>
                <a:latin typeface="Calibri"/>
              </a:rPr>
              <a:t>observed</a:t>
            </a:r>
            <a:endParaRPr lang="fr-FR" sz="1500" dirty="0">
              <a:solidFill>
                <a:srgbClr val="000000"/>
              </a:solidFill>
              <a:latin typeface="Calibri"/>
            </a:endParaRPr>
          </a:p>
          <a:p>
            <a:pPr lvl="1"/>
            <a:r>
              <a:rPr lang="fr-FR" sz="1500" dirty="0">
                <a:solidFill>
                  <a:srgbClr val="000000"/>
                </a:solidFill>
                <a:latin typeface="Calibri"/>
              </a:rPr>
              <a:t>Post C4 </a:t>
            </a:r>
            <a:r>
              <a:rPr lang="fr-FR" sz="1500" dirty="0" err="1">
                <a:solidFill>
                  <a:srgbClr val="000000"/>
                </a:solidFill>
                <a:latin typeface="Calibri"/>
              </a:rPr>
              <a:t>campaign</a:t>
            </a:r>
            <a:r>
              <a:rPr lang="fr-FR" sz="1500" dirty="0">
                <a:solidFill>
                  <a:srgbClr val="000000"/>
                </a:solidFill>
                <a:latin typeface="Calibri"/>
              </a:rPr>
              <a:t> (2019)</a:t>
            </a:r>
            <a:r>
              <a:rPr lang="fr-FR" sz="1500" dirty="0">
                <a:solidFill>
                  <a:srgbClr val="000000"/>
                </a:solidFill>
                <a:latin typeface="Calibri"/>
                <a:sym typeface="Wingdings" panose="05000000000000000000" pitchFamily="2" charset="2"/>
              </a:rPr>
              <a:t></a:t>
            </a:r>
            <a:r>
              <a:rPr lang="fr-FR" sz="1500" dirty="0">
                <a:solidFill>
                  <a:srgbClr val="000000"/>
                </a:solidFill>
                <a:latin typeface="Calibri"/>
              </a:rPr>
              <a:t> </a:t>
            </a:r>
            <a:r>
              <a:rPr lang="fr-FR" sz="1500" dirty="0" err="1">
                <a:solidFill>
                  <a:srgbClr val="000000"/>
                </a:solidFill>
                <a:latin typeface="Calibri"/>
              </a:rPr>
              <a:t>melted</a:t>
            </a:r>
            <a:r>
              <a:rPr lang="fr-FR" sz="1500" dirty="0">
                <a:solidFill>
                  <a:srgbClr val="000000"/>
                </a:solidFill>
                <a:latin typeface="Calibri"/>
              </a:rPr>
              <a:t> </a:t>
            </a:r>
            <a:r>
              <a:rPr lang="fr-FR" sz="1500" dirty="0" err="1">
                <a:solidFill>
                  <a:srgbClr val="000000"/>
                </a:solidFill>
                <a:latin typeface="Calibri"/>
              </a:rPr>
              <a:t>droplet</a:t>
            </a:r>
            <a:r>
              <a:rPr lang="fr-FR" sz="1500" dirty="0">
                <a:solidFill>
                  <a:srgbClr val="000000"/>
                </a:solidFill>
                <a:latin typeface="Calibri"/>
              </a:rPr>
              <a:t> </a:t>
            </a:r>
            <a:r>
              <a:rPr lang="fr-FR" sz="1500" dirty="0" err="1">
                <a:solidFill>
                  <a:srgbClr val="000000"/>
                </a:solidFill>
                <a:latin typeface="Calibri"/>
              </a:rPr>
              <a:t>appeared</a:t>
            </a:r>
            <a:r>
              <a:rPr lang="fr-FR" sz="1500" dirty="0">
                <a:solidFill>
                  <a:srgbClr val="000000"/>
                </a:solidFill>
                <a:latin typeface="Calibri"/>
              </a:rPr>
              <a:t> (</a:t>
            </a:r>
            <a:r>
              <a:rPr lang="fr-FR" sz="1500" dirty="0" err="1">
                <a:solidFill>
                  <a:srgbClr val="000000"/>
                </a:solidFill>
                <a:latin typeface="Calibri"/>
              </a:rPr>
              <a:t>left</a:t>
            </a:r>
            <a:r>
              <a:rPr lang="fr-FR" sz="1500" dirty="0">
                <a:solidFill>
                  <a:srgbClr val="000000"/>
                </a:solidFill>
                <a:latin typeface="Calibri"/>
              </a:rPr>
              <a:t> LE </a:t>
            </a:r>
            <a:r>
              <a:rPr lang="fr-FR" sz="1500" dirty="0" err="1">
                <a:solidFill>
                  <a:srgbClr val="000000"/>
                </a:solidFill>
                <a:latin typeface="Calibri"/>
              </a:rPr>
              <a:t>side</a:t>
            </a:r>
            <a:r>
              <a:rPr lang="fr-FR" sz="1500" dirty="0">
                <a:solidFill>
                  <a:srgbClr val="000000"/>
                </a:solidFill>
                <a:latin typeface="Calibri"/>
              </a:rPr>
              <a:t>,      )</a:t>
            </a:r>
          </a:p>
          <a:p>
            <a:pPr lvl="1"/>
            <a:endParaRPr lang="en-US" sz="1500" dirty="0"/>
          </a:p>
        </p:txBody>
      </p:sp>
      <p:sp>
        <p:nvSpPr>
          <p:cNvPr id="42" name="ZoneTexte 41"/>
          <p:cNvSpPr txBox="1"/>
          <p:nvPr/>
        </p:nvSpPr>
        <p:spPr>
          <a:xfrm>
            <a:off x="966869" y="613516"/>
            <a:ext cx="954107" cy="369332"/>
          </a:xfrm>
          <a:prstGeom prst="rect">
            <a:avLst/>
          </a:prstGeom>
          <a:noFill/>
        </p:spPr>
        <p:txBody>
          <a:bodyPr wrap="none" rtlCol="0">
            <a:spAutoFit/>
          </a:bodyPr>
          <a:lstStyle/>
          <a:p>
            <a:pPr defTabSz="685800"/>
            <a:r>
              <a:rPr lang="fr-FR" dirty="0">
                <a:solidFill>
                  <a:srgbClr val="FF0000"/>
                </a:solidFill>
                <a:latin typeface="Arial"/>
              </a:rPr>
              <a:t>Plasma</a:t>
            </a:r>
            <a:endParaRPr lang="en-US" dirty="0">
              <a:solidFill>
                <a:srgbClr val="FF0000"/>
              </a:solidFill>
              <a:latin typeface="Arial"/>
            </a:endParaRPr>
          </a:p>
        </p:txBody>
      </p:sp>
      <p:cxnSp>
        <p:nvCxnSpPr>
          <p:cNvPr id="43" name="Connecteur droit avec flèche 42"/>
          <p:cNvCxnSpPr/>
          <p:nvPr/>
        </p:nvCxnSpPr>
        <p:spPr>
          <a:xfrm>
            <a:off x="2087435" y="665510"/>
            <a:ext cx="0" cy="243000"/>
          </a:xfrm>
          <a:prstGeom prst="straightConnector1">
            <a:avLst/>
          </a:prstGeom>
          <a:ln w="76200">
            <a:solidFill>
              <a:srgbClr val="E60019"/>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eur droit avec flèche 43"/>
          <p:cNvCxnSpPr/>
          <p:nvPr/>
        </p:nvCxnSpPr>
        <p:spPr>
          <a:xfrm>
            <a:off x="787265" y="665510"/>
            <a:ext cx="0" cy="243000"/>
          </a:xfrm>
          <a:prstGeom prst="straightConnector1">
            <a:avLst/>
          </a:prstGeom>
          <a:ln w="76200">
            <a:solidFill>
              <a:srgbClr val="E60019"/>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44"/>
          <p:cNvSpPr/>
          <p:nvPr/>
        </p:nvSpPr>
        <p:spPr>
          <a:xfrm>
            <a:off x="214312" y="929920"/>
            <a:ext cx="846373" cy="433594"/>
          </a:xfrm>
          <a:prstGeom prst="rect">
            <a:avLst/>
          </a:prstGeom>
          <a:solidFill>
            <a:srgbClr val="FFC000">
              <a:alpha val="21176"/>
            </a:srgb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fr-FR" sz="1600" dirty="0">
              <a:solidFill>
                <a:prstClr val="white"/>
              </a:solidFill>
              <a:latin typeface="Arial Black"/>
            </a:endParaRPr>
          </a:p>
        </p:txBody>
      </p:sp>
      <p:pic>
        <p:nvPicPr>
          <p:cNvPr id="46" name="Image 45"/>
          <p:cNvPicPr>
            <a:picLocks noChangeAspect="1"/>
          </p:cNvPicPr>
          <p:nvPr/>
        </p:nvPicPr>
        <p:blipFill rotWithShape="1">
          <a:blip r:embed="rId5" cstate="hqprint">
            <a:extLst>
              <a:ext uri="{28A0092B-C50C-407E-A947-70E740481C1C}">
                <a14:useLocalDpi xmlns:a14="http://schemas.microsoft.com/office/drawing/2010/main" val="0"/>
              </a:ext>
            </a:extLst>
          </a:blip>
          <a:srcRect r="4948"/>
          <a:stretch/>
        </p:blipFill>
        <p:spPr>
          <a:xfrm rot="10800000">
            <a:off x="639366" y="1999046"/>
            <a:ext cx="2957392" cy="1655486"/>
          </a:xfrm>
          <a:prstGeom prst="rect">
            <a:avLst/>
          </a:prstGeom>
          <a:ln>
            <a:solidFill>
              <a:srgbClr val="FFC000"/>
            </a:solidFill>
          </a:ln>
        </p:spPr>
      </p:pic>
      <p:cxnSp>
        <p:nvCxnSpPr>
          <p:cNvPr id="47" name="Connecteur droit avec flèche 46"/>
          <p:cNvCxnSpPr/>
          <p:nvPr/>
        </p:nvCxnSpPr>
        <p:spPr>
          <a:xfrm>
            <a:off x="212895" y="1357062"/>
            <a:ext cx="422857" cy="2297470"/>
          </a:xfrm>
          <a:prstGeom prst="straightConnector1">
            <a:avLst/>
          </a:prstGeom>
          <a:ln>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53" name="Connecteur droit avec flèche 52"/>
          <p:cNvCxnSpPr/>
          <p:nvPr/>
        </p:nvCxnSpPr>
        <p:spPr>
          <a:xfrm>
            <a:off x="725669" y="2157886"/>
            <a:ext cx="0" cy="675000"/>
          </a:xfrm>
          <a:prstGeom prst="straightConnector1">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4" name="ZoneTexte 53"/>
          <p:cNvSpPr txBox="1"/>
          <p:nvPr/>
        </p:nvSpPr>
        <p:spPr>
          <a:xfrm rot="16200000">
            <a:off x="361051" y="2301215"/>
            <a:ext cx="585417" cy="276999"/>
          </a:xfrm>
          <a:prstGeom prst="rect">
            <a:avLst/>
          </a:prstGeom>
          <a:noFill/>
        </p:spPr>
        <p:txBody>
          <a:bodyPr wrap="none" rtlCol="0">
            <a:spAutoFit/>
          </a:bodyPr>
          <a:lstStyle/>
          <a:p>
            <a:pPr defTabSz="685800"/>
            <a:r>
              <a:rPr lang="fr-FR" sz="1200" b="1" dirty="0">
                <a:solidFill>
                  <a:srgbClr val="FF0000"/>
                </a:solidFill>
                <a:latin typeface="Arial"/>
              </a:rPr>
              <a:t>1 mm</a:t>
            </a:r>
          </a:p>
        </p:txBody>
      </p:sp>
      <p:cxnSp>
        <p:nvCxnSpPr>
          <p:cNvPr id="55" name="Connecteur droit avec flèche 54"/>
          <p:cNvCxnSpPr/>
          <p:nvPr/>
        </p:nvCxnSpPr>
        <p:spPr>
          <a:xfrm>
            <a:off x="2130535" y="2173401"/>
            <a:ext cx="0" cy="189000"/>
          </a:xfrm>
          <a:prstGeom prst="straightConnector1">
            <a:avLst/>
          </a:prstGeom>
          <a:ln w="28575">
            <a:solidFill>
              <a:srgbClr val="FF0000"/>
            </a:solidFill>
            <a:headEnd type="triangle"/>
            <a:tailEnd type="triangle"/>
          </a:ln>
          <a:effectLst>
            <a:glow rad="1016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56" name="ZoneTexte 55"/>
          <p:cNvSpPr txBox="1"/>
          <p:nvPr/>
        </p:nvSpPr>
        <p:spPr>
          <a:xfrm>
            <a:off x="1421440" y="2344909"/>
            <a:ext cx="713657" cy="276999"/>
          </a:xfrm>
          <a:prstGeom prst="rect">
            <a:avLst/>
          </a:prstGeom>
          <a:solidFill>
            <a:srgbClr val="FFFFFF">
              <a:alpha val="60000"/>
            </a:srgbClr>
          </a:solidFill>
        </p:spPr>
        <p:txBody>
          <a:bodyPr wrap="none" rtlCol="0">
            <a:spAutoFit/>
          </a:bodyPr>
          <a:lstStyle/>
          <a:p>
            <a:pPr defTabSz="685800"/>
            <a:r>
              <a:rPr lang="fr-FR" sz="1200" b="1" dirty="0">
                <a:solidFill>
                  <a:srgbClr val="FF0000"/>
                </a:solidFill>
                <a:latin typeface="Arial"/>
              </a:rPr>
              <a:t>0,3 mm</a:t>
            </a:r>
          </a:p>
        </p:txBody>
      </p:sp>
      <p:cxnSp>
        <p:nvCxnSpPr>
          <p:cNvPr id="57" name="Connecteur droit avec flèche 56"/>
          <p:cNvCxnSpPr/>
          <p:nvPr/>
        </p:nvCxnSpPr>
        <p:spPr>
          <a:xfrm>
            <a:off x="866116" y="3692164"/>
            <a:ext cx="2565000" cy="0"/>
          </a:xfrm>
          <a:prstGeom prst="straightConnector1">
            <a:avLst/>
          </a:prstGeom>
          <a:ln w="28575">
            <a:solidFill>
              <a:schemeClr val="tx1"/>
            </a:solidFill>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58" name="ZoneTexte 57"/>
          <p:cNvSpPr txBox="1"/>
          <p:nvPr/>
        </p:nvSpPr>
        <p:spPr>
          <a:xfrm>
            <a:off x="1814448" y="3654532"/>
            <a:ext cx="569387" cy="276999"/>
          </a:xfrm>
          <a:prstGeom prst="rect">
            <a:avLst/>
          </a:prstGeom>
          <a:noFill/>
        </p:spPr>
        <p:txBody>
          <a:bodyPr wrap="none" rtlCol="0">
            <a:spAutoFit/>
          </a:bodyPr>
          <a:lstStyle/>
          <a:p>
            <a:pPr defTabSz="685800"/>
            <a:r>
              <a:rPr lang="fr-FR" sz="1200" dirty="0">
                <a:solidFill>
                  <a:srgbClr val="262626"/>
                </a:solidFill>
                <a:latin typeface="Arial"/>
              </a:rPr>
              <a:t>5 mm</a:t>
            </a:r>
          </a:p>
        </p:txBody>
      </p:sp>
      <p:sp>
        <p:nvSpPr>
          <p:cNvPr id="17" name="Rectangle 16"/>
          <p:cNvSpPr/>
          <p:nvPr/>
        </p:nvSpPr>
        <p:spPr>
          <a:xfrm>
            <a:off x="1537140" y="2949481"/>
            <a:ext cx="1917000" cy="39859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81000" rIns="108000" bIns="108000" rtlCol="0" anchor="ctr">
            <a:spAutoFit/>
          </a:bodyPr>
          <a:lstStyle/>
          <a:p>
            <a:pPr algn="ctr" defTabSz="685800"/>
            <a:endParaRPr lang="en-GB" sz="1350" dirty="0">
              <a:solidFill>
                <a:prstClr val="white"/>
              </a:solidFill>
              <a:latin typeface="Arial"/>
            </a:endParaRPr>
          </a:p>
        </p:txBody>
      </p:sp>
      <p:pic>
        <p:nvPicPr>
          <p:cNvPr id="14" name="Image 13"/>
          <p:cNvPicPr>
            <a:picLocks noChangeAspect="1"/>
          </p:cNvPicPr>
          <p:nvPr/>
        </p:nvPicPr>
        <p:blipFill>
          <a:blip r:embed="rId6"/>
          <a:stretch>
            <a:fillRect/>
          </a:stretch>
        </p:blipFill>
        <p:spPr>
          <a:xfrm>
            <a:off x="1590884" y="2759145"/>
            <a:ext cx="185764" cy="171474"/>
          </a:xfrm>
          <a:prstGeom prst="rect">
            <a:avLst/>
          </a:prstGeom>
        </p:spPr>
      </p:pic>
      <p:pic>
        <p:nvPicPr>
          <p:cNvPr id="15" name="Image 14"/>
          <p:cNvPicPr>
            <a:picLocks noChangeAspect="1"/>
          </p:cNvPicPr>
          <p:nvPr/>
        </p:nvPicPr>
        <p:blipFill>
          <a:blip r:embed="rId7"/>
          <a:stretch>
            <a:fillRect/>
          </a:stretch>
        </p:blipFill>
        <p:spPr>
          <a:xfrm>
            <a:off x="1576594" y="3029383"/>
            <a:ext cx="214343" cy="192908"/>
          </a:xfrm>
          <a:prstGeom prst="rect">
            <a:avLst/>
          </a:prstGeom>
        </p:spPr>
      </p:pic>
      <p:sp>
        <p:nvSpPr>
          <p:cNvPr id="16" name="ZoneTexte 15"/>
          <p:cNvSpPr txBox="1"/>
          <p:nvPr/>
        </p:nvSpPr>
        <p:spPr>
          <a:xfrm>
            <a:off x="1767308" y="2705299"/>
            <a:ext cx="1885950" cy="300082"/>
          </a:xfrm>
          <a:prstGeom prst="rect">
            <a:avLst/>
          </a:prstGeom>
          <a:noFill/>
        </p:spPr>
        <p:txBody>
          <a:bodyPr wrap="square" rtlCol="0">
            <a:spAutoFit/>
          </a:bodyPr>
          <a:lstStyle/>
          <a:p>
            <a:pPr defTabSz="685800"/>
            <a:r>
              <a:rPr lang="en-US" sz="1350" dirty="0">
                <a:solidFill>
                  <a:srgbClr val="262626"/>
                </a:solidFill>
                <a:latin typeface="Arial"/>
              </a:rPr>
              <a:t>As-received</a:t>
            </a:r>
          </a:p>
        </p:txBody>
      </p:sp>
      <p:sp>
        <p:nvSpPr>
          <p:cNvPr id="64" name="ZoneTexte 63"/>
          <p:cNvSpPr txBox="1"/>
          <p:nvPr/>
        </p:nvSpPr>
        <p:spPr>
          <a:xfrm>
            <a:off x="1767308" y="2991049"/>
            <a:ext cx="1885950" cy="300082"/>
          </a:xfrm>
          <a:prstGeom prst="rect">
            <a:avLst/>
          </a:prstGeom>
          <a:noFill/>
        </p:spPr>
        <p:txBody>
          <a:bodyPr wrap="square" rtlCol="0">
            <a:spAutoFit/>
          </a:bodyPr>
          <a:lstStyle/>
          <a:p>
            <a:pPr defTabSz="685800"/>
            <a:r>
              <a:rPr lang="en-US" sz="1350" dirty="0">
                <a:solidFill>
                  <a:srgbClr val="262626"/>
                </a:solidFill>
                <a:latin typeface="Arial"/>
              </a:rPr>
              <a:t>Melted/recrystallized</a:t>
            </a:r>
          </a:p>
        </p:txBody>
      </p:sp>
      <p:sp>
        <p:nvSpPr>
          <p:cNvPr id="65" name="Espace réservé du contenu 6">
            <a:extLst>
              <a:ext uri="{FF2B5EF4-FFF2-40B4-BE49-F238E27FC236}">
                <a16:creationId xmlns:a16="http://schemas.microsoft.com/office/drawing/2014/main" id="{69904E05-C7BF-272F-1F49-76572513FD57}"/>
              </a:ext>
            </a:extLst>
          </p:cNvPr>
          <p:cNvSpPr txBox="1">
            <a:spLocks/>
          </p:cNvSpPr>
          <p:nvPr/>
        </p:nvSpPr>
        <p:spPr>
          <a:xfrm>
            <a:off x="2960061" y="1574744"/>
            <a:ext cx="6259236" cy="477176"/>
          </a:xfrm>
          <a:prstGeom prst="rect">
            <a:avLst/>
          </a:prstGeom>
        </p:spPr>
        <p:txBody>
          <a:bodyPr vert="horz" lIns="0" tIns="34290" rIns="0" bIns="34290" rtlCol="0">
            <a:noAutofit/>
          </a:bodyPr>
          <a:lstStyle>
            <a:lvl1pPr marL="0" indent="0" algn="l" defTabSz="914400" rtl="0" eaLnBrk="1" latinLnBrk="0" hangingPunct="1">
              <a:lnSpc>
                <a:spcPct val="100000"/>
              </a:lnSpc>
              <a:spcBef>
                <a:spcPts val="120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buClr>
                <a:schemeClr val="tx2"/>
              </a:buClr>
              <a:buSzPct val="90000"/>
              <a:buFont typeface="Arial" panose="020B0604020202020204" pitchFamily="34" charset="0"/>
              <a:buChar char="■"/>
              <a:defRPr sz="1800" kern="1200">
                <a:solidFill>
                  <a:schemeClr val="tx1"/>
                </a:solidFill>
                <a:latin typeface="+mn-lt"/>
                <a:ea typeface="+mn-ea"/>
                <a:cs typeface="+mn-cs"/>
              </a:defRPr>
            </a:lvl2pPr>
            <a:lvl3pPr marL="541338" indent="-274638" algn="l" defTabSz="914400" rtl="0" eaLnBrk="1" latinLnBrk="0" hangingPunct="1">
              <a:lnSpc>
                <a:spcPct val="100000"/>
              </a:lnSpc>
              <a:spcBef>
                <a:spcPts val="500"/>
              </a:spcBef>
              <a:buSzPct val="90000"/>
              <a:buFont typeface="Arial" panose="020B0604020202020204" pitchFamily="34" charset="0"/>
              <a:buChar char="■"/>
              <a:defRPr sz="1800" kern="1200">
                <a:solidFill>
                  <a:schemeClr val="tx1"/>
                </a:solidFill>
                <a:latin typeface="+mn-lt"/>
                <a:ea typeface="+mn-ea"/>
                <a:cs typeface="+mn-cs"/>
              </a:defRPr>
            </a:lvl3pPr>
            <a:lvl4pPr marL="808038" indent="-266700" algn="l" defTabSz="914400" rtl="0" eaLnBrk="1" latinLnBrk="0" hangingPunct="1">
              <a:lnSpc>
                <a:spcPct val="100000"/>
              </a:lnSpc>
              <a:spcBef>
                <a:spcPts val="500"/>
              </a:spcBef>
              <a:buSzPct val="90000"/>
              <a:buFont typeface="Arial" panose="020B0604020202020204" pitchFamily="34" charset="0"/>
              <a:buChar char="■"/>
              <a:defRPr sz="1800" kern="1200">
                <a:solidFill>
                  <a:schemeClr val="tx1"/>
                </a:solidFill>
                <a:latin typeface="+mn-lt"/>
                <a:ea typeface="+mn-ea"/>
                <a:cs typeface="+mn-cs"/>
              </a:defRPr>
            </a:lvl4pPr>
            <a:lvl5pPr marL="1074738" indent="-266700" algn="l" defTabSz="914400" rtl="0" eaLnBrk="1" latinLnBrk="0" hangingPunct="1">
              <a:lnSpc>
                <a:spcPct val="100000"/>
              </a:lnSpc>
              <a:spcBef>
                <a:spcPts val="500"/>
              </a:spcBef>
              <a:buSzPct val="9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spcBef>
                <a:spcPts val="375"/>
              </a:spcBef>
              <a:buClr>
                <a:srgbClr val="E50019"/>
              </a:buClr>
            </a:pPr>
            <a:r>
              <a:rPr lang="en-US" sz="1500" dirty="0">
                <a:solidFill>
                  <a:srgbClr val="E50019"/>
                </a:solidFill>
                <a:latin typeface="Calibri"/>
              </a:rPr>
              <a:t>Deformed grains at the LE </a:t>
            </a:r>
            <a:r>
              <a:rPr lang="en-US" sz="1500" dirty="0">
                <a:solidFill>
                  <a:srgbClr val="000000"/>
                </a:solidFill>
                <a:latin typeface="Calibri"/>
              </a:rPr>
              <a:t>(due to thermal or H/He diffusion effects ?)</a:t>
            </a:r>
            <a:endParaRPr lang="fr-FR" sz="1500" dirty="0">
              <a:solidFill>
                <a:srgbClr val="000000"/>
              </a:solidFill>
              <a:latin typeface="Calibri"/>
            </a:endParaRPr>
          </a:p>
          <a:p>
            <a:pPr marL="200025" lvl="1" indent="-200025" defTabSz="685800">
              <a:spcBef>
                <a:spcPts val="375"/>
              </a:spcBef>
              <a:buClr>
                <a:srgbClr val="E50019"/>
              </a:buClr>
            </a:pPr>
            <a:endParaRPr lang="en-US" sz="1500" dirty="0">
              <a:solidFill>
                <a:srgbClr val="262626"/>
              </a:solidFill>
              <a:latin typeface="Arial"/>
            </a:endParaRPr>
          </a:p>
        </p:txBody>
      </p:sp>
      <p:sp>
        <p:nvSpPr>
          <p:cNvPr id="66" name="Espace réservé du contenu 6">
            <a:extLst>
              <a:ext uri="{FF2B5EF4-FFF2-40B4-BE49-F238E27FC236}">
                <a16:creationId xmlns:a16="http://schemas.microsoft.com/office/drawing/2014/main" id="{69904E05-C7BF-272F-1F49-76572513FD57}"/>
              </a:ext>
            </a:extLst>
          </p:cNvPr>
          <p:cNvSpPr txBox="1">
            <a:spLocks/>
          </p:cNvSpPr>
          <p:nvPr/>
        </p:nvSpPr>
        <p:spPr>
          <a:xfrm>
            <a:off x="2682676" y="1269548"/>
            <a:ext cx="6166052"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dirty="0">
                <a:solidFill>
                  <a:srgbClr val="000000"/>
                </a:solidFill>
                <a:latin typeface="Calibri"/>
              </a:rPr>
              <a:t>EBSD map outputs: Large grains (melted zone), small grains (along the LE)</a:t>
            </a:r>
          </a:p>
        </p:txBody>
      </p:sp>
      <p:pic>
        <p:nvPicPr>
          <p:cNvPr id="18" name="Image 17"/>
          <p:cNvPicPr>
            <a:picLocks noChangeAspect="1"/>
          </p:cNvPicPr>
          <p:nvPr/>
        </p:nvPicPr>
        <p:blipFill>
          <a:blip r:embed="rId8"/>
          <a:stretch>
            <a:fillRect/>
          </a:stretch>
        </p:blipFill>
        <p:spPr>
          <a:xfrm>
            <a:off x="1576007" y="3333838"/>
            <a:ext cx="214930" cy="212600"/>
          </a:xfrm>
          <a:prstGeom prst="rect">
            <a:avLst/>
          </a:prstGeom>
        </p:spPr>
      </p:pic>
      <p:sp>
        <p:nvSpPr>
          <p:cNvPr id="67" name="ZoneTexte 66"/>
          <p:cNvSpPr txBox="1"/>
          <p:nvPr/>
        </p:nvSpPr>
        <p:spPr>
          <a:xfrm>
            <a:off x="1776647" y="3306382"/>
            <a:ext cx="1885950" cy="300082"/>
          </a:xfrm>
          <a:prstGeom prst="rect">
            <a:avLst/>
          </a:prstGeom>
          <a:noFill/>
        </p:spPr>
        <p:txBody>
          <a:bodyPr wrap="square" rtlCol="0">
            <a:spAutoFit/>
          </a:bodyPr>
          <a:lstStyle/>
          <a:p>
            <a:pPr defTabSz="685800"/>
            <a:r>
              <a:rPr lang="en-US" sz="1350" dirty="0">
                <a:solidFill>
                  <a:srgbClr val="262626"/>
                </a:solidFill>
                <a:latin typeface="Arial"/>
              </a:rPr>
              <a:t>Deformed grains</a:t>
            </a:r>
          </a:p>
        </p:txBody>
      </p:sp>
      <p:sp>
        <p:nvSpPr>
          <p:cNvPr id="84" name="Espace réservé du contenu 6">
            <a:extLst>
              <a:ext uri="{FF2B5EF4-FFF2-40B4-BE49-F238E27FC236}">
                <a16:creationId xmlns:a16="http://schemas.microsoft.com/office/drawing/2014/main" id="{69904E05-C7BF-272F-1F49-76572513FD57}"/>
              </a:ext>
            </a:extLst>
          </p:cNvPr>
          <p:cNvSpPr txBox="1">
            <a:spLocks/>
          </p:cNvSpPr>
          <p:nvPr/>
        </p:nvSpPr>
        <p:spPr>
          <a:xfrm>
            <a:off x="6482955" y="2000212"/>
            <a:ext cx="2524015"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dirty="0">
                <a:solidFill>
                  <a:srgbClr val="E50019"/>
                </a:solidFill>
                <a:latin typeface="Calibri"/>
              </a:rPr>
              <a:t>Reverse analysis </a:t>
            </a:r>
            <a:r>
              <a:rPr lang="en-US" sz="1500" dirty="0">
                <a:solidFill>
                  <a:srgbClr val="000000"/>
                </a:solidFill>
                <a:latin typeface="Calibri"/>
              </a:rPr>
              <a:t>ongoing to</a:t>
            </a:r>
            <a:r>
              <a:rPr lang="en-US" sz="1500" dirty="0">
                <a:solidFill>
                  <a:srgbClr val="000000"/>
                </a:solidFill>
                <a:latin typeface="Calibri"/>
                <a:sym typeface="Wingdings" panose="05000000000000000000" pitchFamily="2" charset="2"/>
              </a:rPr>
              <a:t> </a:t>
            </a:r>
            <a:r>
              <a:rPr lang="en-US" sz="1500" dirty="0">
                <a:solidFill>
                  <a:srgbClr val="000000"/>
                </a:solidFill>
                <a:latin typeface="Calibri"/>
              </a:rPr>
              <a:t>assess the flux pattern &amp; intensity (T-REX modeling)</a:t>
            </a:r>
            <a:endParaRPr lang="en-US" sz="1350" dirty="0">
              <a:solidFill>
                <a:srgbClr val="000000"/>
              </a:solidFill>
              <a:latin typeface="Calibri"/>
            </a:endParaRPr>
          </a:p>
          <a:p>
            <a:pPr marL="406004" lvl="2" indent="-205979" defTabSz="685800"/>
            <a:endParaRPr lang="en-US" sz="1350" dirty="0">
              <a:solidFill>
                <a:srgbClr val="000000"/>
              </a:solidFill>
              <a:latin typeface="Calibri"/>
            </a:endParaRPr>
          </a:p>
        </p:txBody>
      </p:sp>
      <p:cxnSp>
        <p:nvCxnSpPr>
          <p:cNvPr id="110" name="Connecteur droit avec flèche 109"/>
          <p:cNvCxnSpPr/>
          <p:nvPr/>
        </p:nvCxnSpPr>
        <p:spPr>
          <a:xfrm>
            <a:off x="2736531" y="1564796"/>
            <a:ext cx="0" cy="35100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onnecteur droit avec flèche 111"/>
          <p:cNvCxnSpPr/>
          <p:nvPr/>
        </p:nvCxnSpPr>
        <p:spPr>
          <a:xfrm flipV="1">
            <a:off x="5131594" y="2106813"/>
            <a:ext cx="1351360" cy="98225"/>
          </a:xfrm>
          <a:prstGeom prst="straightConnector1">
            <a:avLst/>
          </a:prstGeom>
          <a:ln w="28575">
            <a:solidFill>
              <a:schemeClr val="bg1"/>
            </a:solidFill>
            <a:headEnd type="triangle" w="med" len="med"/>
            <a:tailEnd type="triangle" w="med" len="med"/>
          </a:ln>
        </p:spPr>
        <p:style>
          <a:lnRef idx="2">
            <a:schemeClr val="accent2"/>
          </a:lnRef>
          <a:fillRef idx="0">
            <a:schemeClr val="accent2"/>
          </a:fillRef>
          <a:effectRef idx="1">
            <a:schemeClr val="accent2"/>
          </a:effectRef>
          <a:fontRef idx="minor">
            <a:schemeClr val="tx1"/>
          </a:fontRef>
        </p:style>
      </p:cxnSp>
      <p:sp>
        <p:nvSpPr>
          <p:cNvPr id="113" name="ZoneTexte 112"/>
          <p:cNvSpPr txBox="1"/>
          <p:nvPr/>
        </p:nvSpPr>
        <p:spPr>
          <a:xfrm rot="21329135">
            <a:off x="5305939" y="1932821"/>
            <a:ext cx="713657" cy="276999"/>
          </a:xfrm>
          <a:prstGeom prst="rect">
            <a:avLst/>
          </a:prstGeom>
          <a:noFill/>
        </p:spPr>
        <p:txBody>
          <a:bodyPr wrap="none" rtlCol="0">
            <a:spAutoFit/>
          </a:bodyPr>
          <a:lstStyle/>
          <a:p>
            <a:pPr defTabSz="685800"/>
            <a:r>
              <a:rPr lang="fr-FR" sz="1200" b="1" dirty="0">
                <a:solidFill>
                  <a:prstClr val="white"/>
                </a:solidFill>
                <a:latin typeface="Arial"/>
              </a:rPr>
              <a:t>4.5 mm</a:t>
            </a:r>
          </a:p>
        </p:txBody>
      </p:sp>
      <p:sp>
        <p:nvSpPr>
          <p:cNvPr id="115" name="Espace réservé du contenu 6">
            <a:extLst>
              <a:ext uri="{FF2B5EF4-FFF2-40B4-BE49-F238E27FC236}">
                <a16:creationId xmlns:a16="http://schemas.microsoft.com/office/drawing/2014/main" id="{69904E05-C7BF-272F-1F49-76572513FD57}"/>
              </a:ext>
            </a:extLst>
          </p:cNvPr>
          <p:cNvSpPr txBox="1">
            <a:spLocks/>
          </p:cNvSpPr>
          <p:nvPr/>
        </p:nvSpPr>
        <p:spPr>
          <a:xfrm>
            <a:off x="6009283" y="2726613"/>
            <a:ext cx="3191867"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dirty="0">
                <a:solidFill>
                  <a:srgbClr val="000000"/>
                </a:solidFill>
                <a:latin typeface="Calibri"/>
              </a:rPr>
              <a:t>Numerical recrystallization gradient fits with the EBSD observations applying </a:t>
            </a:r>
            <a:r>
              <a:rPr lang="en-US" sz="1500" b="1" dirty="0">
                <a:solidFill>
                  <a:srgbClr val="E50019"/>
                </a:solidFill>
                <a:latin typeface="Calibri"/>
              </a:rPr>
              <a:t>210 MW/m² </a:t>
            </a:r>
            <a:r>
              <a:rPr lang="en-US" sz="1500" dirty="0">
                <a:solidFill>
                  <a:srgbClr val="000000"/>
                </a:solidFill>
                <a:latin typeface="Calibri"/>
              </a:rPr>
              <a:t>on the LE (1s) </a:t>
            </a:r>
          </a:p>
        </p:txBody>
      </p:sp>
      <p:sp>
        <p:nvSpPr>
          <p:cNvPr id="117" name="Espace réservé du contenu 6">
            <a:extLst>
              <a:ext uri="{FF2B5EF4-FFF2-40B4-BE49-F238E27FC236}">
                <a16:creationId xmlns:a16="http://schemas.microsoft.com/office/drawing/2014/main" id="{69904E05-C7BF-272F-1F49-76572513FD57}"/>
              </a:ext>
            </a:extLst>
          </p:cNvPr>
          <p:cNvSpPr txBox="1">
            <a:spLocks/>
          </p:cNvSpPr>
          <p:nvPr/>
        </p:nvSpPr>
        <p:spPr>
          <a:xfrm>
            <a:off x="-39471" y="4155480"/>
            <a:ext cx="7611846"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dirty="0">
                <a:solidFill>
                  <a:srgbClr val="000000"/>
                </a:solidFill>
                <a:latin typeface="Calibri"/>
              </a:rPr>
              <a:t>During WEST high confinement experiment (8MW injected) MHD crash observed (#55567) </a:t>
            </a:r>
            <a:r>
              <a:rPr lang="en-US" sz="1500" dirty="0">
                <a:solidFill>
                  <a:srgbClr val="000000"/>
                </a:solidFill>
                <a:latin typeface="Calibri"/>
                <a:sym typeface="Wingdings" panose="05000000000000000000" pitchFamily="2" charset="2"/>
              </a:rPr>
              <a:t> </a:t>
            </a:r>
          </a:p>
          <a:p>
            <a:pPr marL="0" lvl="1" indent="0" defTabSz="685800">
              <a:buClr>
                <a:srgbClr val="E50019"/>
              </a:buClr>
              <a:buNone/>
            </a:pPr>
            <a:r>
              <a:rPr lang="en-US" sz="1500" dirty="0">
                <a:solidFill>
                  <a:srgbClr val="000000"/>
                </a:solidFill>
                <a:latin typeface="Calibri"/>
              </a:rPr>
              <a:t> </a:t>
            </a:r>
            <a:r>
              <a:rPr lang="en-US" sz="1500" dirty="0">
                <a:solidFill>
                  <a:srgbClr val="000000"/>
                </a:solidFill>
                <a:latin typeface="Calibri"/>
                <a:sym typeface="Wingdings" panose="05000000000000000000" pitchFamily="2" charset="2"/>
              </a:rPr>
              <a:t>2000°C measured by</a:t>
            </a:r>
            <a:r>
              <a:rPr lang="en-US" sz="1500" dirty="0">
                <a:solidFill>
                  <a:srgbClr val="000000"/>
                </a:solidFill>
                <a:latin typeface="Calibri"/>
              </a:rPr>
              <a:t> the Very High Spatial resolution IR camera (50Hz) </a:t>
            </a:r>
            <a:r>
              <a:rPr lang="en-US" sz="1500" dirty="0">
                <a:solidFill>
                  <a:srgbClr val="000000"/>
                </a:solidFill>
                <a:latin typeface="Calibri"/>
                <a:sym typeface="Wingdings" panose="05000000000000000000" pitchFamily="2" charset="2"/>
              </a:rPr>
              <a:t> Study on-going</a:t>
            </a:r>
            <a:endParaRPr lang="en-US" sz="1500" dirty="0">
              <a:solidFill>
                <a:srgbClr val="000000"/>
              </a:solidFill>
              <a:latin typeface="Calibri"/>
            </a:endParaRPr>
          </a:p>
        </p:txBody>
      </p:sp>
      <p:pic>
        <p:nvPicPr>
          <p:cNvPr id="20" name="Image 19"/>
          <p:cNvPicPr>
            <a:picLocks noChangeAspect="1"/>
          </p:cNvPicPr>
          <p:nvPr/>
        </p:nvPicPr>
        <p:blipFill>
          <a:blip r:embed="rId9"/>
          <a:stretch>
            <a:fillRect/>
          </a:stretch>
        </p:blipFill>
        <p:spPr>
          <a:xfrm>
            <a:off x="7721614" y="3453013"/>
            <a:ext cx="1285355" cy="1663628"/>
          </a:xfrm>
          <a:prstGeom prst="rect">
            <a:avLst/>
          </a:prstGeom>
        </p:spPr>
      </p:pic>
      <p:cxnSp>
        <p:nvCxnSpPr>
          <p:cNvPr id="118" name="Connecteur droit avec flèche 117"/>
          <p:cNvCxnSpPr/>
          <p:nvPr/>
        </p:nvCxnSpPr>
        <p:spPr>
          <a:xfrm flipH="1" flipV="1">
            <a:off x="6168155" y="2362401"/>
            <a:ext cx="438615" cy="396744"/>
          </a:xfrm>
          <a:prstGeom prst="straightConnector1">
            <a:avLst/>
          </a:prstGeom>
          <a:ln w="76200">
            <a:solidFill>
              <a:schemeClr val="tx1"/>
            </a:solidFill>
            <a:tailEnd type="triangle"/>
          </a:ln>
          <a:effectLst>
            <a:glow rad="101600">
              <a:schemeClr val="bg1">
                <a:alpha val="60000"/>
              </a:schemeClr>
            </a:glow>
          </a:effectLst>
        </p:spPr>
        <p:style>
          <a:lnRef idx="1">
            <a:schemeClr val="accent1"/>
          </a:lnRef>
          <a:fillRef idx="0">
            <a:schemeClr val="accent1"/>
          </a:fillRef>
          <a:effectRef idx="0">
            <a:schemeClr val="accent1"/>
          </a:effectRef>
          <a:fontRef idx="minor">
            <a:schemeClr val="tx1"/>
          </a:fontRef>
        </p:style>
      </p:cxnSp>
      <p:sp>
        <p:nvSpPr>
          <p:cNvPr id="125" name="Espace réservé du contenu 6">
            <a:extLst>
              <a:ext uri="{FF2B5EF4-FFF2-40B4-BE49-F238E27FC236}">
                <a16:creationId xmlns:a16="http://schemas.microsoft.com/office/drawing/2014/main" id="{69904E05-C7BF-272F-1F49-76572513FD57}"/>
              </a:ext>
            </a:extLst>
          </p:cNvPr>
          <p:cNvSpPr txBox="1">
            <a:spLocks/>
          </p:cNvSpPr>
          <p:nvPr/>
        </p:nvSpPr>
        <p:spPr>
          <a:xfrm>
            <a:off x="526802" y="4618520"/>
            <a:ext cx="7611846"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dirty="0">
                <a:solidFill>
                  <a:srgbClr val="000000"/>
                </a:solidFill>
                <a:latin typeface="Calibri"/>
              </a:rPr>
              <a:t>In short term: continue EBSD analysis </a:t>
            </a:r>
            <a:r>
              <a:rPr lang="en-US" sz="1500" dirty="0">
                <a:solidFill>
                  <a:srgbClr val="000000"/>
                </a:solidFill>
                <a:latin typeface="Calibri"/>
                <a:sym typeface="Wingdings" panose="05000000000000000000" pitchFamily="2" charset="2"/>
              </a:rPr>
              <a:t> </a:t>
            </a:r>
            <a:r>
              <a:rPr lang="en-US" sz="1500" dirty="0">
                <a:solidFill>
                  <a:srgbClr val="000000"/>
                </a:solidFill>
                <a:latin typeface="Calibri"/>
              </a:rPr>
              <a:t>assess the total recrystallization gradient length</a:t>
            </a:r>
          </a:p>
        </p:txBody>
      </p:sp>
      <p:cxnSp>
        <p:nvCxnSpPr>
          <p:cNvPr id="26" name="Connecteur droit 25"/>
          <p:cNvCxnSpPr/>
          <p:nvPr/>
        </p:nvCxnSpPr>
        <p:spPr>
          <a:xfrm flipV="1">
            <a:off x="3004623" y="2116347"/>
            <a:ext cx="1357022" cy="2303"/>
          </a:xfrm>
          <a:prstGeom prst="line">
            <a:avLst/>
          </a:prstGeom>
          <a:ln>
            <a:solidFill>
              <a:srgbClr val="FF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Connecteur droit 125"/>
          <p:cNvCxnSpPr/>
          <p:nvPr/>
        </p:nvCxnSpPr>
        <p:spPr>
          <a:xfrm flipV="1">
            <a:off x="3004623" y="2302260"/>
            <a:ext cx="1357022" cy="2303"/>
          </a:xfrm>
          <a:prstGeom prst="line">
            <a:avLst/>
          </a:prstGeom>
          <a:ln>
            <a:solidFill>
              <a:srgbClr val="FF0000"/>
            </a:solidFill>
            <a:prstDash val="dash"/>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8" name="ZoneTexte 27"/>
          <p:cNvSpPr txBox="1"/>
          <p:nvPr/>
        </p:nvSpPr>
        <p:spPr>
          <a:xfrm>
            <a:off x="3682339" y="2076719"/>
            <a:ext cx="755998" cy="276999"/>
          </a:xfrm>
          <a:prstGeom prst="rect">
            <a:avLst/>
          </a:prstGeom>
          <a:noFill/>
        </p:spPr>
        <p:txBody>
          <a:bodyPr wrap="square" rtlCol="0">
            <a:spAutoFit/>
          </a:bodyPr>
          <a:lstStyle/>
          <a:p>
            <a:pPr defTabSz="685800"/>
            <a:r>
              <a:rPr lang="fr-FR" sz="1200" dirty="0">
                <a:solidFill>
                  <a:srgbClr val="262626"/>
                </a:solidFill>
                <a:latin typeface="Arial"/>
              </a:rPr>
              <a:t>Up to ?</a:t>
            </a:r>
            <a:endParaRPr lang="en-GB" sz="1200" dirty="0">
              <a:solidFill>
                <a:srgbClr val="262626"/>
              </a:solidFill>
              <a:latin typeface="Arial"/>
            </a:endParaRPr>
          </a:p>
        </p:txBody>
      </p:sp>
      <p:sp>
        <p:nvSpPr>
          <p:cNvPr id="127" name="Ellipse 126"/>
          <p:cNvSpPr/>
          <p:nvPr/>
        </p:nvSpPr>
        <p:spPr>
          <a:xfrm>
            <a:off x="8095950" y="900052"/>
            <a:ext cx="178514" cy="169259"/>
          </a:xfrm>
          <a:prstGeom prst="ellipse">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fr-FR">
              <a:solidFill>
                <a:srgbClr val="FF0000"/>
              </a:solidFill>
              <a:latin typeface="Calibri"/>
            </a:endParaRPr>
          </a:p>
        </p:txBody>
      </p:sp>
      <p:sp>
        <p:nvSpPr>
          <p:cNvPr id="116" name="Espace réservé du contenu 6">
            <a:extLst>
              <a:ext uri="{FF2B5EF4-FFF2-40B4-BE49-F238E27FC236}">
                <a16:creationId xmlns:a16="http://schemas.microsoft.com/office/drawing/2014/main" id="{69904E05-C7BF-272F-1F49-76572513FD57}"/>
              </a:ext>
            </a:extLst>
          </p:cNvPr>
          <p:cNvSpPr txBox="1">
            <a:spLocks/>
          </p:cNvSpPr>
          <p:nvPr/>
        </p:nvSpPr>
        <p:spPr>
          <a:xfrm>
            <a:off x="-34926" y="3839547"/>
            <a:ext cx="9048179" cy="477176"/>
          </a:xfrm>
          <a:prstGeom prst="rect">
            <a:avLst/>
          </a:prstGeom>
        </p:spPr>
        <p:txBody>
          <a:bodyPr vert="horz" lIns="95792" tIns="47897" rIns="95792" bIns="47897" rtlCol="0">
            <a:noAutofit/>
          </a:bodyPr>
          <a:lstStyle>
            <a:lvl1pPr marL="0" indent="0" algn="l" defTabSz="914400" rtl="0" eaLnBrk="1" latinLnBrk="0" hangingPunct="1">
              <a:lnSpc>
                <a:spcPct val="100000"/>
              </a:lnSpc>
              <a:spcBef>
                <a:spcPts val="0"/>
              </a:spcBef>
              <a:buClr>
                <a:schemeClr val="tx2"/>
              </a:buClr>
              <a:buSzPct val="90000"/>
              <a:buFont typeface="Arial" panose="020B0604020202020204" pitchFamily="34" charset="0"/>
              <a:buNone/>
              <a:defRPr sz="1800" kern="1200">
                <a:solidFill>
                  <a:schemeClr val="tx1"/>
                </a:solidFill>
                <a:latin typeface="+mn-lt"/>
                <a:ea typeface="+mn-ea"/>
                <a:cs typeface="+mn-cs"/>
              </a:defRPr>
            </a:lvl1pPr>
            <a:lvl2pPr marL="266700" indent="-266700" algn="l" defTabSz="914400" rtl="0" eaLnBrk="1" latinLnBrk="0" hangingPunct="1">
              <a:lnSpc>
                <a:spcPct val="100000"/>
              </a:lnSpc>
              <a:spcBef>
                <a:spcPts val="0"/>
              </a:spcBef>
              <a:buClr>
                <a:schemeClr val="tx2"/>
              </a:buClr>
              <a:buSzPct val="90000"/>
              <a:buFont typeface="Arial" panose="020B0604020202020204" pitchFamily="34" charset="0"/>
              <a:buChar char="■"/>
              <a:defRPr sz="1600" kern="1200">
                <a:solidFill>
                  <a:schemeClr val="tx1"/>
                </a:solidFill>
                <a:latin typeface="+mn-lt"/>
                <a:ea typeface="+mn-ea"/>
                <a:cs typeface="+mn-cs"/>
              </a:defRPr>
            </a:lvl2pPr>
            <a:lvl3pPr marL="541338" indent="-274638" algn="l" defTabSz="914400" rtl="0" eaLnBrk="1" latinLnBrk="0" hangingPunct="1">
              <a:lnSpc>
                <a:spcPct val="100000"/>
              </a:lnSpc>
              <a:spcBef>
                <a:spcPts val="0"/>
              </a:spcBef>
              <a:buSzPct val="90000"/>
              <a:buFont typeface="Arial" panose="020B0604020202020204" pitchFamily="34" charset="0"/>
              <a:buChar char="■"/>
              <a:defRPr sz="1400" kern="1200">
                <a:solidFill>
                  <a:schemeClr val="tx1"/>
                </a:solidFill>
                <a:latin typeface="+mn-lt"/>
                <a:ea typeface="+mn-ea"/>
                <a:cs typeface="+mn-cs"/>
              </a:defRPr>
            </a:lvl3pPr>
            <a:lvl4pPr marL="1676329" indent="-239475" algn="l" defTabSz="914400" rtl="0" eaLnBrk="1" latinLnBrk="0" hangingPunct="1">
              <a:lnSpc>
                <a:spcPct val="100000"/>
              </a:lnSpc>
              <a:spcBef>
                <a:spcPts val="0"/>
              </a:spcBef>
              <a:buSzPct val="90000"/>
              <a:buFont typeface="Calibri" panose="020F0502020204030204" pitchFamily="34" charset="0"/>
              <a:buChar char="-"/>
              <a:defRPr sz="1200" kern="1200">
                <a:solidFill>
                  <a:schemeClr val="tx1"/>
                </a:solidFill>
                <a:latin typeface="+mn-lt"/>
                <a:ea typeface="+mn-ea"/>
                <a:cs typeface="+mn-cs"/>
              </a:defRPr>
            </a:lvl4pPr>
            <a:lvl5pPr marL="2155278" indent="-239475" algn="l" defTabSz="914400" rtl="0" eaLnBrk="1" latinLnBrk="0" hangingPunct="1">
              <a:lnSpc>
                <a:spcPct val="100000"/>
              </a:lnSpc>
              <a:spcBef>
                <a:spcPts val="0"/>
              </a:spcBef>
              <a:buSzPct val="90000"/>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025" lvl="1" indent="-200025" defTabSz="685800">
              <a:buClr>
                <a:srgbClr val="E50019"/>
              </a:buClr>
            </a:pPr>
            <a:r>
              <a:rPr lang="en-US" sz="1500" b="1" dirty="0">
                <a:solidFill>
                  <a:srgbClr val="E50019"/>
                </a:solidFill>
                <a:latin typeface="Calibri"/>
              </a:rPr>
              <a:t>210 MW/m² </a:t>
            </a:r>
            <a:r>
              <a:rPr lang="en-US" sz="1500" dirty="0">
                <a:solidFill>
                  <a:srgbClr val="000000"/>
                </a:solidFill>
                <a:latin typeface="Calibri"/>
                <a:sym typeface="Wingdings" panose="05000000000000000000" pitchFamily="2" charset="2"/>
              </a:rPr>
              <a:t> </a:t>
            </a:r>
            <a:r>
              <a:rPr lang="en-US" sz="1500" dirty="0">
                <a:solidFill>
                  <a:srgbClr val="000000"/>
                </a:solidFill>
                <a:latin typeface="Calibri"/>
              </a:rPr>
              <a:t>~2630°C @ LE &lt;&lt; W melting point </a:t>
            </a:r>
            <a:r>
              <a:rPr lang="en-US" sz="1500" dirty="0">
                <a:solidFill>
                  <a:srgbClr val="000000"/>
                </a:solidFill>
                <a:latin typeface="Calibri"/>
                <a:sym typeface="Wingdings" panose="05000000000000000000" pitchFamily="2" charset="2"/>
              </a:rPr>
              <a:t> how explain</a:t>
            </a:r>
            <a:r>
              <a:rPr lang="en-US" sz="1500" dirty="0">
                <a:solidFill>
                  <a:srgbClr val="000000"/>
                </a:solidFill>
                <a:latin typeface="Calibri"/>
              </a:rPr>
              <a:t> the droplet </a:t>
            </a:r>
            <a:r>
              <a:rPr lang="en-US" sz="1500" dirty="0">
                <a:solidFill>
                  <a:srgbClr val="000000"/>
                </a:solidFill>
                <a:latin typeface="Calibri"/>
                <a:sym typeface="Wingdings" panose="05000000000000000000" pitchFamily="2" charset="2"/>
              </a:rPr>
              <a:t>(off-normal event?)</a:t>
            </a:r>
          </a:p>
        </p:txBody>
      </p:sp>
    </p:spTree>
    <p:extLst>
      <p:ext uri="{BB962C8B-B14F-4D97-AF65-F5344CB8AC3E}">
        <p14:creationId xmlns:p14="http://schemas.microsoft.com/office/powerpoint/2010/main" val="29723467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3477" y="230958"/>
            <a:ext cx="7886700" cy="267578"/>
          </a:xfrm>
        </p:spPr>
        <p:txBody>
          <a:bodyPr>
            <a:normAutofit fontScale="90000"/>
          </a:bodyPr>
          <a:lstStyle/>
          <a:p>
            <a:r>
              <a:rPr lang="sv-SE" b="1" dirty="0">
                <a:solidFill>
                  <a:srgbClr val="002060"/>
                </a:solidFill>
              </a:rPr>
              <a:t>MEMENTO + GEANT4  STATUS/UPDATES</a:t>
            </a:r>
          </a:p>
        </p:txBody>
      </p:sp>
      <p:sp>
        <p:nvSpPr>
          <p:cNvPr id="3" name="Content Placeholder 2"/>
          <p:cNvSpPr>
            <a:spLocks noGrp="1"/>
          </p:cNvSpPr>
          <p:nvPr>
            <p:ph idx="1"/>
          </p:nvPr>
        </p:nvSpPr>
        <p:spPr>
          <a:xfrm>
            <a:off x="377190" y="713281"/>
            <a:ext cx="8475865" cy="4080392"/>
          </a:xfrm>
        </p:spPr>
        <p:txBody>
          <a:bodyPr>
            <a:normAutofit fontScale="92500" lnSpcReduction="10000"/>
          </a:bodyPr>
          <a:lstStyle/>
          <a:p>
            <a:pPr>
              <a:buFont typeface="Wingdings" panose="05000000000000000000" pitchFamily="2" charset="2"/>
              <a:buChar char="Ø"/>
            </a:pPr>
            <a:r>
              <a:rPr lang="en-US" sz="1800" dirty="0">
                <a:solidFill>
                  <a:srgbClr val="00B050"/>
                </a:solidFill>
              </a:rPr>
              <a:t>MEMENTO numerical implementations updates completed</a:t>
            </a:r>
            <a:endParaRPr lang="en-US" sz="1500" dirty="0"/>
          </a:p>
          <a:p>
            <a:r>
              <a:rPr lang="en-US" sz="1500" dirty="0">
                <a:solidFill>
                  <a:srgbClr val="0070C0"/>
                </a:solidFill>
              </a:rPr>
              <a:t>"The MEMENTO code for modelling of macroscopic melt motion in fusion devices“</a:t>
            </a:r>
            <a:r>
              <a:rPr lang="en-US" sz="1500" dirty="0"/>
              <a:t>, K. </a:t>
            </a:r>
            <a:r>
              <a:rPr lang="en-US" sz="1500" dirty="0" err="1"/>
              <a:t>Paschalidis</a:t>
            </a:r>
            <a:r>
              <a:rPr lang="en-US" sz="1500" dirty="0"/>
              <a:t>, F. Lucco Castello, S. Ratynskaia, P. </a:t>
            </a:r>
            <a:r>
              <a:rPr lang="en-US" sz="1500" dirty="0" err="1"/>
              <a:t>Tolias</a:t>
            </a:r>
            <a:r>
              <a:rPr lang="en-US" sz="1500" dirty="0"/>
              <a:t> et al,</a:t>
            </a:r>
          </a:p>
          <a:p>
            <a:r>
              <a:rPr lang="en-US" sz="1500" dirty="0"/>
              <a:t> out of scope for </a:t>
            </a:r>
            <a:r>
              <a:rPr lang="en-US" sz="1500" i="1" dirty="0" err="1"/>
              <a:t>Intern.J</a:t>
            </a:r>
            <a:r>
              <a:rPr lang="en-US" sz="1500" i="1" dirty="0"/>
              <a:t>. </a:t>
            </a:r>
            <a:r>
              <a:rPr lang="en-US" sz="1500" i="1" dirty="0" err="1"/>
              <a:t>Numer</a:t>
            </a:r>
            <a:r>
              <a:rPr lang="en-US" sz="1500" i="1" dirty="0"/>
              <a:t>. Methods in Fluids (2023)</a:t>
            </a:r>
            <a:r>
              <a:rPr lang="en-US" sz="1500" dirty="0"/>
              <a:t>, to be resubmitted to </a:t>
            </a:r>
            <a:r>
              <a:rPr lang="sv-SE" sz="1500" i="1" dirty="0"/>
              <a:t>Fusion </a:t>
            </a:r>
            <a:r>
              <a:rPr lang="sv-SE" sz="1500" i="1" dirty="0" err="1"/>
              <a:t>Engineer</a:t>
            </a:r>
            <a:r>
              <a:rPr lang="sv-SE" sz="1500" i="1" dirty="0"/>
              <a:t>. Design 2024</a:t>
            </a:r>
          </a:p>
          <a:p>
            <a:r>
              <a:rPr lang="en-US" sz="1500" b="1" dirty="0"/>
              <a:t>but new physics is yet to be explored (see Plans)</a:t>
            </a:r>
          </a:p>
          <a:p>
            <a:endParaRPr lang="en-US" sz="750" dirty="0"/>
          </a:p>
          <a:p>
            <a:pPr>
              <a:buFont typeface="Wingdings" panose="05000000000000000000" pitchFamily="2" charset="2"/>
              <a:buChar char="Ø"/>
            </a:pPr>
            <a:r>
              <a:rPr lang="en-US" sz="1800" dirty="0">
                <a:solidFill>
                  <a:srgbClr val="00B050"/>
                </a:solidFill>
              </a:rPr>
              <a:t>GEANT4 benchmarking activities for energy deposition in W initiated</a:t>
            </a:r>
          </a:p>
          <a:p>
            <a:r>
              <a:rPr lang="en-US" sz="1500" dirty="0"/>
              <a:t>‘</a:t>
            </a:r>
            <a:r>
              <a:rPr lang="en-GB" sz="1500" dirty="0">
                <a:solidFill>
                  <a:srgbClr val="0070C0"/>
                </a:solidFill>
              </a:rPr>
              <a:t>GEANT4 modelling of runaway electron transport into bulk tungsten’, </a:t>
            </a:r>
            <a:r>
              <a:rPr lang="en-US" sz="1500" dirty="0"/>
              <a:t>T. </a:t>
            </a:r>
            <a:r>
              <a:rPr lang="en-US" sz="1500" dirty="0" err="1"/>
              <a:t>Rizzi</a:t>
            </a:r>
            <a:r>
              <a:rPr lang="en-US" sz="1500" dirty="0"/>
              <a:t>, P. </a:t>
            </a:r>
            <a:r>
              <a:rPr lang="en-US" sz="1500" dirty="0" err="1"/>
              <a:t>Tolias</a:t>
            </a:r>
            <a:r>
              <a:rPr lang="en-US" sz="1500" dirty="0"/>
              <a:t>, S. Ratynskaia, </a:t>
            </a:r>
            <a:r>
              <a:rPr lang="en-GB" sz="1500" dirty="0"/>
              <a:t>PSI May 2024 , France</a:t>
            </a:r>
            <a:endParaRPr lang="sv-SE" sz="1500" dirty="0"/>
          </a:p>
          <a:p>
            <a:endParaRPr lang="en-US" sz="750" dirty="0"/>
          </a:p>
          <a:p>
            <a:pPr>
              <a:buFont typeface="Wingdings" panose="05000000000000000000" pitchFamily="2" charset="2"/>
              <a:buChar char="Ø"/>
            </a:pPr>
            <a:r>
              <a:rPr lang="en-US" sz="1800" i="1" dirty="0">
                <a:solidFill>
                  <a:srgbClr val="00B050"/>
                </a:solidFill>
              </a:rPr>
              <a:t>Brittle</a:t>
            </a:r>
            <a:r>
              <a:rPr lang="en-US" sz="1800" dirty="0">
                <a:solidFill>
                  <a:srgbClr val="00B050"/>
                </a:solidFill>
              </a:rPr>
              <a:t> PFC explosion modelling with GEANT4 + thermo-elastic modelling in COMSOL started </a:t>
            </a:r>
            <a:r>
              <a:rPr lang="en-US" sz="1500" dirty="0"/>
              <a:t>with newly initiated collaboration with KTH mechanics colleagues </a:t>
            </a:r>
            <a:endParaRPr lang="sv-SE" dirty="0"/>
          </a:p>
          <a:p>
            <a:r>
              <a:rPr lang="en-US" sz="1500" dirty="0">
                <a:solidFill>
                  <a:srgbClr val="0070C0"/>
                </a:solidFill>
              </a:rPr>
              <a:t>‘Simulation of graphite sample explosion due to RE impact: DIII-D experiment’</a:t>
            </a:r>
            <a:r>
              <a:rPr lang="en-US" sz="1500" dirty="0"/>
              <a:t>, T. </a:t>
            </a:r>
            <a:r>
              <a:rPr lang="en-US" sz="1500" dirty="0" err="1"/>
              <a:t>Rizzi</a:t>
            </a:r>
            <a:r>
              <a:rPr lang="en-US" sz="1500" dirty="0"/>
              <a:t>, S. Ratynskaia, P. </a:t>
            </a:r>
            <a:r>
              <a:rPr lang="en-US" sz="1500" dirty="0" err="1"/>
              <a:t>Tolias</a:t>
            </a:r>
            <a:r>
              <a:rPr lang="en-US" sz="1500" dirty="0"/>
              <a:t> et al </a:t>
            </a:r>
            <a:r>
              <a:rPr lang="en-US" sz="1500" dirty="0" err="1"/>
              <a:t>Tervaniemi</a:t>
            </a:r>
            <a:r>
              <a:rPr lang="en-US" sz="1500" dirty="0"/>
              <a:t> working session, Feb 2024, Finland</a:t>
            </a:r>
          </a:p>
          <a:p>
            <a:endParaRPr lang="en-US" sz="1500" dirty="0"/>
          </a:p>
          <a:p>
            <a:pPr>
              <a:buFont typeface="Wingdings" panose="05000000000000000000" pitchFamily="2" charset="2"/>
              <a:buChar char="Ø"/>
            </a:pPr>
            <a:r>
              <a:rPr lang="en-US" sz="1800" i="1" dirty="0">
                <a:solidFill>
                  <a:srgbClr val="00B050"/>
                </a:solidFill>
              </a:rPr>
              <a:t>Tungsten </a:t>
            </a:r>
            <a:r>
              <a:rPr lang="en-US" sz="1800" dirty="0">
                <a:solidFill>
                  <a:srgbClr val="00B050"/>
                </a:solidFill>
              </a:rPr>
              <a:t>PFC damage modelling GEANT4 + MEMENTO work flow development </a:t>
            </a:r>
          </a:p>
          <a:p>
            <a:endParaRPr lang="sv-SE" sz="1800" dirty="0"/>
          </a:p>
        </p:txBody>
      </p:sp>
    </p:spTree>
    <p:extLst>
      <p:ext uri="{BB962C8B-B14F-4D97-AF65-F5344CB8AC3E}">
        <p14:creationId xmlns:p14="http://schemas.microsoft.com/office/powerpoint/2010/main" val="36041425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3532" y="93370"/>
            <a:ext cx="7886700" cy="267578"/>
          </a:xfrm>
        </p:spPr>
        <p:txBody>
          <a:bodyPr>
            <a:normAutofit fontScale="90000"/>
          </a:bodyPr>
          <a:lstStyle/>
          <a:p>
            <a:r>
              <a:rPr lang="sv-SE" b="1" dirty="0">
                <a:solidFill>
                  <a:srgbClr val="002060"/>
                </a:solidFill>
              </a:rPr>
              <a:t>MEMENTO + GEANT4  PLANS</a:t>
            </a:r>
            <a:endParaRPr lang="sv-SE" dirty="0"/>
          </a:p>
        </p:txBody>
      </p:sp>
      <p:sp>
        <p:nvSpPr>
          <p:cNvPr id="3" name="Content Placeholder 2"/>
          <p:cNvSpPr>
            <a:spLocks noGrp="1"/>
          </p:cNvSpPr>
          <p:nvPr>
            <p:ph idx="1"/>
          </p:nvPr>
        </p:nvSpPr>
        <p:spPr>
          <a:xfrm>
            <a:off x="278458" y="533400"/>
            <a:ext cx="8364956" cy="4360946"/>
          </a:xfrm>
        </p:spPr>
        <p:txBody>
          <a:bodyPr>
            <a:noAutofit/>
          </a:bodyPr>
          <a:lstStyle/>
          <a:p>
            <a:r>
              <a:rPr lang="en-US" sz="1500" b="1" dirty="0">
                <a:solidFill>
                  <a:srgbClr val="0070C0"/>
                </a:solidFill>
              </a:rPr>
              <a:t>MEMENTO under PWIE</a:t>
            </a:r>
          </a:p>
          <a:p>
            <a:r>
              <a:rPr lang="en-US" sz="1500" dirty="0"/>
              <a:t>Electrostatic problem with new current propagation solver  </a:t>
            </a:r>
            <a:r>
              <a:rPr lang="en-US" sz="1500" dirty="0">
                <a:sym typeface="Wingdings" panose="05000000000000000000" pitchFamily="2" charset="2"/>
              </a:rPr>
              <a:t> investigate </a:t>
            </a:r>
            <a:r>
              <a:rPr lang="en-US" sz="1500" dirty="0"/>
              <a:t>dynamo term effects </a:t>
            </a:r>
          </a:p>
          <a:p>
            <a:r>
              <a:rPr lang="en-US" sz="1500" dirty="0"/>
              <a:t>Testing of possibility to include vapor shielding through simplified analytical model (feedback on incoming flux through released vapor calculations) similar to </a:t>
            </a:r>
            <a:r>
              <a:rPr lang="sv-SE" sz="1500" dirty="0"/>
              <a:t>D. I. Skovorodin </a:t>
            </a:r>
            <a:r>
              <a:rPr lang="sv-SE" sz="1500" i="1" dirty="0"/>
              <a:t>et al.,</a:t>
            </a:r>
            <a:r>
              <a:rPr lang="sv-SE" sz="1500" dirty="0"/>
              <a:t> </a:t>
            </a:r>
            <a:r>
              <a:rPr lang="sv-SE" sz="1500" i="1" dirty="0"/>
              <a:t>POP </a:t>
            </a:r>
            <a:r>
              <a:rPr lang="sv-SE" sz="1500" b="1" dirty="0"/>
              <a:t>23</a:t>
            </a:r>
            <a:r>
              <a:rPr lang="sv-SE" sz="1500" dirty="0"/>
              <a:t>,</a:t>
            </a:r>
            <a:r>
              <a:rPr lang="sv-SE" sz="1500" b="1" dirty="0"/>
              <a:t> </a:t>
            </a:r>
            <a:r>
              <a:rPr lang="sv-SE" sz="1500" dirty="0"/>
              <a:t> (2016).</a:t>
            </a:r>
          </a:p>
          <a:p>
            <a:r>
              <a:rPr lang="sv-SE" sz="1500" dirty="0">
                <a:solidFill>
                  <a:srgbClr val="00B050"/>
                </a:solidFill>
              </a:rPr>
              <a:t>For RE-</a:t>
            </a:r>
            <a:r>
              <a:rPr lang="sv-SE" sz="1500" dirty="0" err="1">
                <a:solidFill>
                  <a:srgbClr val="00B050"/>
                </a:solidFill>
              </a:rPr>
              <a:t>induced</a:t>
            </a:r>
            <a:r>
              <a:rPr lang="sv-SE" sz="1500" dirty="0">
                <a:solidFill>
                  <a:srgbClr val="00B050"/>
                </a:solidFill>
              </a:rPr>
              <a:t> PFC </a:t>
            </a:r>
            <a:r>
              <a:rPr lang="sv-SE" sz="1500" dirty="0" err="1">
                <a:solidFill>
                  <a:srgbClr val="00B050"/>
                </a:solidFill>
              </a:rPr>
              <a:t>damage</a:t>
            </a:r>
            <a:r>
              <a:rPr lang="sv-SE" sz="1500" dirty="0">
                <a:solidFill>
                  <a:srgbClr val="00B050"/>
                </a:solidFill>
              </a:rPr>
              <a:t> </a:t>
            </a:r>
            <a:r>
              <a:rPr lang="sv-SE" sz="1500" dirty="0" err="1">
                <a:solidFill>
                  <a:srgbClr val="00B050"/>
                </a:solidFill>
              </a:rPr>
              <a:t>with</a:t>
            </a:r>
            <a:r>
              <a:rPr lang="sv-SE" sz="1500" dirty="0">
                <a:solidFill>
                  <a:srgbClr val="00B050"/>
                </a:solidFill>
              </a:rPr>
              <a:t> GEANT4+MEMENTO and GEANT4+COMSOL </a:t>
            </a:r>
            <a:r>
              <a:rPr lang="sv-SE" sz="1500" dirty="0" err="1">
                <a:solidFill>
                  <a:srgbClr val="00B050"/>
                </a:solidFill>
              </a:rPr>
              <a:t>work</a:t>
            </a:r>
            <a:r>
              <a:rPr lang="sv-SE" sz="1500" dirty="0">
                <a:solidFill>
                  <a:srgbClr val="00B050"/>
                </a:solidFill>
              </a:rPr>
              <a:t> </a:t>
            </a:r>
            <a:r>
              <a:rPr lang="sv-SE" sz="1500" dirty="0" err="1">
                <a:solidFill>
                  <a:srgbClr val="00B050"/>
                </a:solidFill>
              </a:rPr>
              <a:t>flows</a:t>
            </a:r>
            <a:r>
              <a:rPr lang="sv-SE" sz="1500" dirty="0">
                <a:solidFill>
                  <a:srgbClr val="00B050"/>
                </a:solidFill>
              </a:rPr>
              <a:t>: </a:t>
            </a:r>
          </a:p>
          <a:p>
            <a:pPr>
              <a:buFont typeface="Courier New" panose="02070309020205020404" pitchFamily="49" charset="0"/>
              <a:buChar char="o"/>
            </a:pPr>
            <a:r>
              <a:rPr lang="sv-SE" sz="1500" b="1" dirty="0" err="1"/>
              <a:t>Brittle</a:t>
            </a:r>
            <a:r>
              <a:rPr lang="sv-SE" sz="1500" dirty="0"/>
              <a:t> materials to </a:t>
            </a:r>
            <a:r>
              <a:rPr lang="sv-SE" sz="1500" i="1" dirty="0"/>
              <a:t>benchmark input on the RE </a:t>
            </a:r>
            <a:r>
              <a:rPr lang="sv-SE" sz="1500" i="1" dirty="0" err="1"/>
              <a:t>impact</a:t>
            </a:r>
            <a:r>
              <a:rPr lang="sv-SE" sz="1500" i="1" dirty="0"/>
              <a:t> </a:t>
            </a:r>
            <a:r>
              <a:rPr lang="sv-SE" sz="1500" i="1" dirty="0" err="1"/>
              <a:t>characteristics</a:t>
            </a:r>
            <a:r>
              <a:rPr lang="sv-SE" sz="1500" i="1" dirty="0"/>
              <a:t> </a:t>
            </a:r>
            <a:br>
              <a:rPr lang="sv-SE" sz="1500" i="1" dirty="0"/>
            </a:br>
            <a:r>
              <a:rPr lang="sv-SE" sz="1500" dirty="0"/>
              <a:t>in 2024 start </a:t>
            </a:r>
            <a:r>
              <a:rPr lang="sv-SE" sz="1500" dirty="0" err="1"/>
              <a:t>modelling</a:t>
            </a:r>
            <a:r>
              <a:rPr lang="sv-SE" sz="1500" dirty="0"/>
              <a:t> </a:t>
            </a:r>
            <a:r>
              <a:rPr lang="sv-SE" sz="1500" dirty="0" err="1"/>
              <a:t>of</a:t>
            </a:r>
            <a:r>
              <a:rPr lang="sv-SE" sz="1500" dirty="0"/>
              <a:t> WEST </a:t>
            </a:r>
            <a:r>
              <a:rPr lang="sv-SE" sz="1500" dirty="0" err="1"/>
              <a:t>evidence</a:t>
            </a:r>
            <a:r>
              <a:rPr lang="sv-SE" sz="1500" dirty="0"/>
              <a:t> </a:t>
            </a:r>
            <a:r>
              <a:rPr lang="sv-SE" sz="1500" dirty="0" err="1"/>
              <a:t>of</a:t>
            </a:r>
            <a:r>
              <a:rPr lang="sv-SE" sz="1500" dirty="0"/>
              <a:t> </a:t>
            </a:r>
            <a:r>
              <a:rPr lang="sv-SE" sz="1500" dirty="0" err="1"/>
              <a:t>destroyed</a:t>
            </a:r>
            <a:r>
              <a:rPr lang="sv-SE" sz="1500" dirty="0"/>
              <a:t> BN </a:t>
            </a:r>
            <a:r>
              <a:rPr lang="sv-SE" sz="1500" dirty="0" err="1"/>
              <a:t>tiles</a:t>
            </a:r>
            <a:r>
              <a:rPr lang="sv-SE" sz="1500" dirty="0"/>
              <a:t> </a:t>
            </a:r>
            <a:r>
              <a:rPr lang="sv-SE" sz="1500" dirty="0">
                <a:sym typeface="Wingdings" panose="05000000000000000000" pitchFamily="2" charset="2"/>
              </a:rPr>
              <a:t> </a:t>
            </a:r>
            <a:r>
              <a:rPr lang="sv-SE" sz="1500" dirty="0" err="1"/>
              <a:t>significant</a:t>
            </a:r>
            <a:r>
              <a:rPr lang="sv-SE" sz="1500" dirty="0"/>
              <a:t> </a:t>
            </a:r>
            <a:r>
              <a:rPr lang="sv-SE" sz="1500" dirty="0" err="1"/>
              <a:t>investmentment</a:t>
            </a:r>
            <a:r>
              <a:rPr lang="sv-SE" sz="1500" dirty="0"/>
              <a:t> to </a:t>
            </a:r>
            <a:r>
              <a:rPr lang="sv-SE" sz="1500" dirty="0" err="1"/>
              <a:t>introduce</a:t>
            </a:r>
            <a:r>
              <a:rPr lang="sv-SE" sz="1500" dirty="0"/>
              <a:t> BN </a:t>
            </a:r>
            <a:r>
              <a:rPr lang="sv-SE" sz="1500" dirty="0" err="1"/>
              <a:t>properties</a:t>
            </a:r>
            <a:r>
              <a:rPr lang="sv-SE" sz="1500" dirty="0"/>
              <a:t> </a:t>
            </a:r>
          </a:p>
          <a:p>
            <a:pPr>
              <a:buFont typeface="Courier New" panose="02070309020205020404" pitchFamily="49" charset="0"/>
              <a:buChar char="o"/>
            </a:pPr>
            <a:r>
              <a:rPr lang="en-US" sz="1500" b="1" dirty="0"/>
              <a:t>Tungsten</a:t>
            </a:r>
            <a:r>
              <a:rPr lang="en-US" sz="1500" dirty="0"/>
              <a:t> : ITER-relevant grazing angle RE-impacts </a:t>
            </a:r>
            <a:r>
              <a:rPr lang="sv-SE" sz="1500" dirty="0">
                <a:sym typeface="Wingdings" panose="05000000000000000000" pitchFamily="2" charset="2"/>
              </a:rPr>
              <a:t></a:t>
            </a:r>
            <a:r>
              <a:rPr lang="en-US" sz="1500" dirty="0"/>
              <a:t> testing regimes of strong vaporization due to ultra-shallow energy deposition</a:t>
            </a:r>
          </a:p>
          <a:p>
            <a:endParaRPr lang="en-US" sz="1500" dirty="0"/>
          </a:p>
          <a:p>
            <a:r>
              <a:rPr lang="en-US" sz="1500" b="1" dirty="0">
                <a:solidFill>
                  <a:srgbClr val="0070C0"/>
                </a:solidFill>
              </a:rPr>
              <a:t>MEMENTO under TE: </a:t>
            </a:r>
            <a:r>
              <a:rPr lang="en-US" sz="1500" dirty="0"/>
              <a:t>Melt across gap experiments in WEST (shifted from 2023 to 2024, currently planned April 12th) and AUG (2024 - 2025)</a:t>
            </a:r>
          </a:p>
          <a:p>
            <a:endParaRPr lang="en-US" sz="750" dirty="0"/>
          </a:p>
          <a:p>
            <a:r>
              <a:rPr lang="en-US" sz="1500" b="1" dirty="0">
                <a:solidFill>
                  <a:srgbClr val="0070C0"/>
                </a:solidFill>
              </a:rPr>
              <a:t>MEMENTO under TSVVV: </a:t>
            </a:r>
            <a:r>
              <a:rPr lang="sv-SE" sz="1500" dirty="0" err="1"/>
              <a:t>Applications</a:t>
            </a:r>
            <a:r>
              <a:rPr lang="sv-SE" sz="1500" dirty="0"/>
              <a:t> to </a:t>
            </a:r>
            <a:r>
              <a:rPr lang="sv-SE" sz="1500" dirty="0" err="1"/>
              <a:t>disruption</a:t>
            </a:r>
            <a:r>
              <a:rPr lang="sv-SE" sz="1500" dirty="0"/>
              <a:t> scenarios in DEMO</a:t>
            </a:r>
          </a:p>
        </p:txBody>
      </p:sp>
    </p:spTree>
    <p:extLst>
      <p:ext uri="{BB962C8B-B14F-4D97-AF65-F5344CB8AC3E}">
        <p14:creationId xmlns:p14="http://schemas.microsoft.com/office/powerpoint/2010/main" val="16669546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KIPT SPA 1,3,4</a:t>
            </a:r>
          </a:p>
        </p:txBody>
      </p:sp>
      <p:sp>
        <p:nvSpPr>
          <p:cNvPr id="3" name="Subtitle 2"/>
          <p:cNvSpPr>
            <a:spLocks noGrp="1"/>
          </p:cNvSpPr>
          <p:nvPr>
            <p:ph type="subTitle" idx="1"/>
          </p:nvPr>
        </p:nvSpPr>
        <p:spPr/>
        <p:txBody>
          <a:bodyPr>
            <a:normAutofit fontScale="85000" lnSpcReduction="20000"/>
          </a:bodyPr>
          <a:lstStyle/>
          <a:p>
            <a:r>
              <a:rPr lang="en-US" dirty="0"/>
              <a:t>Planning</a:t>
            </a:r>
          </a:p>
        </p:txBody>
      </p:sp>
      <p:sp>
        <p:nvSpPr>
          <p:cNvPr id="8" name="Bildplatzhalter 7">
            <a:extLst>
              <a:ext uri="{FF2B5EF4-FFF2-40B4-BE49-F238E27FC236}">
                <a16:creationId xmlns:a16="http://schemas.microsoft.com/office/drawing/2014/main" id="{9F7AC7C5-19D3-A038-3E45-F08107D11808}"/>
              </a:ext>
            </a:extLst>
          </p:cNvPr>
          <p:cNvSpPr>
            <a:spLocks noGrp="1"/>
          </p:cNvSpPr>
          <p:nvPr>
            <p:ph type="pic" sz="quarter" idx="10"/>
          </p:nvPr>
        </p:nvSpPr>
        <p:spPr/>
        <p:txBody>
          <a:bodyPr/>
          <a:lstStyle/>
          <a:p>
            <a:endParaRPr lang="en-GB"/>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14015644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ADF1E86-E80C-4B84-44B1-879976032459}"/>
              </a:ext>
            </a:extLst>
          </p:cNvPr>
          <p:cNvSpPr>
            <a:spLocks noGrp="1"/>
          </p:cNvSpPr>
          <p:nvPr>
            <p:ph type="title"/>
          </p:nvPr>
        </p:nvSpPr>
        <p:spPr>
          <a:xfrm>
            <a:off x="56483" y="82253"/>
            <a:ext cx="7543800" cy="342900"/>
          </a:xfrm>
        </p:spPr>
        <p:txBody>
          <a:bodyPr/>
          <a:lstStyle/>
          <a:p>
            <a:r>
              <a:rPr lang="en-US" altLang="en-US" sz="2400" dirty="0">
                <a:latin typeface="+mj-lt"/>
              </a:rPr>
              <a:t> Experimental facilities: QSPA Kh-50; QSPA-M</a:t>
            </a:r>
            <a:endParaRPr lang="ru-UA" sz="2400" dirty="0"/>
          </a:p>
        </p:txBody>
      </p:sp>
      <p:sp>
        <p:nvSpPr>
          <p:cNvPr id="4" name="Нижний колонтитул 3">
            <a:extLst>
              <a:ext uri="{FF2B5EF4-FFF2-40B4-BE49-F238E27FC236}">
                <a16:creationId xmlns:a16="http://schemas.microsoft.com/office/drawing/2014/main" id="{C34B2F73-2B26-EF3A-0A1E-2CDFF6F5D249}"/>
              </a:ext>
            </a:extLst>
          </p:cNvPr>
          <p:cNvSpPr>
            <a:spLocks noGrp="1"/>
          </p:cNvSpPr>
          <p:nvPr>
            <p:ph type="ftr" sz="quarter" idx="11"/>
          </p:nvPr>
        </p:nvSpPr>
        <p:spPr/>
        <p:txBody>
          <a:bodyPr/>
          <a:lstStyle/>
          <a:p>
            <a:pPr algn="r" defTabSz="685800"/>
            <a:r>
              <a:rPr lang="en-GB" dirty="0">
                <a:solidFill>
                  <a:prstClr val="black"/>
                </a:solidFill>
              </a:rPr>
              <a:t>| PWIE SPA Kick-Off meeting | Zoom | 09.04.2024 | Page </a:t>
            </a:r>
            <a:fld id="{6A6D9FA1-99C7-4910-8E32-B85D378B0060}" type="slidenum">
              <a:rPr lang="en-GB">
                <a:solidFill>
                  <a:prstClr val="black"/>
                </a:solidFill>
              </a:rPr>
              <a:pPr algn="r" defTabSz="685800"/>
              <a:t>34</a:t>
            </a:fld>
            <a:endParaRPr lang="en-GB" dirty="0">
              <a:solidFill>
                <a:prstClr val="black"/>
              </a:solidFill>
            </a:endParaRPr>
          </a:p>
        </p:txBody>
      </p:sp>
      <p:pic>
        <p:nvPicPr>
          <p:cNvPr id="7" name="Рисунок 6">
            <a:extLst>
              <a:ext uri="{FF2B5EF4-FFF2-40B4-BE49-F238E27FC236}">
                <a16:creationId xmlns:a16="http://schemas.microsoft.com/office/drawing/2014/main" id="{C47AD244-2DC7-F1BD-E31C-38813D579C8E}"/>
              </a:ext>
            </a:extLst>
          </p:cNvPr>
          <p:cNvPicPr>
            <a:picLocks noChangeAspect="1"/>
          </p:cNvPicPr>
          <p:nvPr/>
        </p:nvPicPr>
        <p:blipFill>
          <a:blip r:embed="rId2" cstate="print">
            <a:extLst>
              <a:ext uri="{28A0092B-C50C-407E-A947-70E740481C1C}">
                <a14:useLocalDpi xmlns:a14="http://schemas.microsoft.com/office/drawing/2010/main" val="0"/>
              </a:ext>
            </a:extLst>
          </a:blip>
          <a:srcRect l="4539" t="43602" r="3593" b="43512"/>
          <a:stretch>
            <a:fillRect/>
          </a:stretch>
        </p:blipFill>
        <p:spPr bwMode="auto">
          <a:xfrm>
            <a:off x="136620" y="680998"/>
            <a:ext cx="480596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table">
            <a:extLst>
              <a:ext uri="{FF2B5EF4-FFF2-40B4-BE49-F238E27FC236}">
                <a16:creationId xmlns:a16="http://schemas.microsoft.com/office/drawing/2014/main" id="{91824A8F-3BD2-4EEA-888B-99D46D5991DD}"/>
              </a:ext>
            </a:extLst>
          </p:cNvPr>
          <p:cNvPicPr>
            <a:picLocks noChangeAspect="1"/>
          </p:cNvPicPr>
          <p:nvPr/>
        </p:nvPicPr>
        <p:blipFill>
          <a:blip r:embed="rId3"/>
          <a:stretch>
            <a:fillRect/>
          </a:stretch>
        </p:blipFill>
        <p:spPr>
          <a:xfrm>
            <a:off x="5220242" y="548953"/>
            <a:ext cx="3487530" cy="1152874"/>
          </a:xfrm>
          <a:prstGeom prst="rect">
            <a:avLst/>
          </a:prstGeom>
        </p:spPr>
      </p:pic>
      <p:sp>
        <p:nvSpPr>
          <p:cNvPr id="9" name="TextBox 8">
            <a:extLst>
              <a:ext uri="{FF2B5EF4-FFF2-40B4-BE49-F238E27FC236}">
                <a16:creationId xmlns:a16="http://schemas.microsoft.com/office/drawing/2014/main" id="{19F3617D-2556-236A-0ACC-74374487824F}"/>
              </a:ext>
            </a:extLst>
          </p:cNvPr>
          <p:cNvSpPr txBox="1"/>
          <p:nvPr/>
        </p:nvSpPr>
        <p:spPr>
          <a:xfrm>
            <a:off x="5148064" y="1692230"/>
            <a:ext cx="3773725" cy="523220"/>
          </a:xfrm>
          <a:prstGeom prst="rect">
            <a:avLst/>
          </a:prstGeom>
          <a:solidFill>
            <a:schemeClr val="accent3">
              <a:lumMod val="60000"/>
              <a:lumOff val="40000"/>
            </a:schemeClr>
          </a:solidFill>
        </p:spPr>
        <p:txBody>
          <a:bodyPr wrap="none" rtlCol="0">
            <a:spAutoFit/>
          </a:bodyPr>
          <a:lstStyle/>
          <a:p>
            <a:pPr defTabSz="914378">
              <a:defRPr/>
            </a:pPr>
            <a:r>
              <a:rPr lang="it-IT" sz="1400" dirty="0">
                <a:solidFill>
                  <a:prstClr val="black"/>
                </a:solidFill>
                <a:latin typeface="Calibri"/>
              </a:rPr>
              <a:t>I.E. Garkusha et al 2017 Nucl. Fusion 57, 116011; </a:t>
            </a:r>
          </a:p>
          <a:p>
            <a:pPr defTabSz="914378">
              <a:defRPr/>
            </a:pPr>
            <a:r>
              <a:rPr lang="it-IT" sz="1400" dirty="0">
                <a:solidFill>
                  <a:prstClr val="black"/>
                </a:solidFill>
                <a:latin typeface="Calibri"/>
              </a:rPr>
              <a:t>I.E. Garkusha et al 2019 Nucl. Fusion 59, 086023</a:t>
            </a:r>
            <a:endParaRPr lang="ru-UA" sz="1400" dirty="0">
              <a:solidFill>
                <a:prstClr val="black"/>
              </a:solidFill>
              <a:latin typeface="Calibri"/>
            </a:endParaRPr>
          </a:p>
        </p:txBody>
      </p:sp>
      <p:sp>
        <p:nvSpPr>
          <p:cNvPr id="10" name="TextBox 9">
            <a:extLst>
              <a:ext uri="{FF2B5EF4-FFF2-40B4-BE49-F238E27FC236}">
                <a16:creationId xmlns:a16="http://schemas.microsoft.com/office/drawing/2014/main" id="{E11FA616-F53F-4A69-8CB7-ED7F186FCF8C}"/>
              </a:ext>
            </a:extLst>
          </p:cNvPr>
          <p:cNvSpPr txBox="1"/>
          <p:nvPr/>
        </p:nvSpPr>
        <p:spPr>
          <a:xfrm>
            <a:off x="237278" y="491614"/>
            <a:ext cx="4572000" cy="400110"/>
          </a:xfrm>
          <a:prstGeom prst="rect">
            <a:avLst/>
          </a:prstGeom>
          <a:noFill/>
        </p:spPr>
        <p:txBody>
          <a:bodyPr wrap="square">
            <a:spAutoFit/>
          </a:bodyPr>
          <a:lstStyle/>
          <a:p>
            <a:pPr defTabSz="914378">
              <a:defRPr/>
            </a:pPr>
            <a:r>
              <a:rPr lang="en-US" altLang="en-US" sz="2000" b="1" dirty="0">
                <a:solidFill>
                  <a:srgbClr val="0000FF"/>
                </a:solidFill>
                <a:latin typeface="Calibri"/>
                <a:cs typeface="Arial" panose="020B0604020202020204" pitchFamily="34" charset="0"/>
              </a:rPr>
              <a:t>QSPA-M</a:t>
            </a:r>
            <a:endParaRPr lang="ru-UA" sz="2000" dirty="0">
              <a:solidFill>
                <a:prstClr val="black"/>
              </a:solidFill>
              <a:latin typeface="Calibri"/>
            </a:endParaRPr>
          </a:p>
        </p:txBody>
      </p:sp>
      <p:pic>
        <p:nvPicPr>
          <p:cNvPr id="11" name="Picture 4">
            <a:extLst>
              <a:ext uri="{FF2B5EF4-FFF2-40B4-BE49-F238E27FC236}">
                <a16:creationId xmlns:a16="http://schemas.microsoft.com/office/drawing/2014/main" id="{C0A7992A-D07B-6893-F72A-5CF0794D8F35}"/>
              </a:ext>
            </a:extLst>
          </p:cNvPr>
          <p:cNvPicPr>
            <a:picLocks noGrp="1" noChangeAspect="1" noChangeArrowheads="1"/>
          </p:cNvPicPr>
          <p:nvPr>
            <p:ph idx="1"/>
          </p:nvPr>
        </p:nvPicPr>
        <p:blipFill rotWithShape="1">
          <a:blip r:embed="rId4">
            <a:extLst>
              <a:ext uri="{28A0092B-C50C-407E-A947-70E740481C1C}">
                <a14:useLocalDpi xmlns:a14="http://schemas.microsoft.com/office/drawing/2010/main" val="0"/>
              </a:ext>
            </a:extLst>
          </a:blip>
          <a:srcRect l="2644" r="8238" b="49687"/>
          <a:stretch/>
        </p:blipFill>
        <p:spPr bwMode="auto">
          <a:xfrm>
            <a:off x="436228" y="1633834"/>
            <a:ext cx="3816424" cy="1952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table">
            <a:extLst>
              <a:ext uri="{FF2B5EF4-FFF2-40B4-BE49-F238E27FC236}">
                <a16:creationId xmlns:a16="http://schemas.microsoft.com/office/drawing/2014/main" id="{EF2DADAF-972F-804C-FB03-9E744C5F0425}"/>
              </a:ext>
            </a:extLst>
          </p:cNvPr>
          <p:cNvPicPr>
            <a:picLocks noChangeAspect="1"/>
          </p:cNvPicPr>
          <p:nvPr/>
        </p:nvPicPr>
        <p:blipFill>
          <a:blip r:embed="rId5"/>
          <a:stretch>
            <a:fillRect/>
          </a:stretch>
        </p:blipFill>
        <p:spPr>
          <a:xfrm>
            <a:off x="5148064" y="2234429"/>
            <a:ext cx="3461282" cy="1099142"/>
          </a:xfrm>
          <a:prstGeom prst="rect">
            <a:avLst/>
          </a:prstGeom>
        </p:spPr>
      </p:pic>
      <p:sp>
        <p:nvSpPr>
          <p:cNvPr id="15" name="TextBox 14">
            <a:extLst>
              <a:ext uri="{FF2B5EF4-FFF2-40B4-BE49-F238E27FC236}">
                <a16:creationId xmlns:a16="http://schemas.microsoft.com/office/drawing/2014/main" id="{41DFE601-D81B-10B5-CB50-BEB08676068D}"/>
              </a:ext>
            </a:extLst>
          </p:cNvPr>
          <p:cNvSpPr txBox="1"/>
          <p:nvPr/>
        </p:nvSpPr>
        <p:spPr>
          <a:xfrm>
            <a:off x="246115" y="3560140"/>
            <a:ext cx="8762154" cy="1546577"/>
          </a:xfrm>
          <a:prstGeom prst="rect">
            <a:avLst/>
          </a:prstGeom>
          <a:noFill/>
        </p:spPr>
        <p:txBody>
          <a:bodyPr wrap="square">
            <a:spAutoFit/>
          </a:bodyPr>
          <a:lstStyle/>
          <a:p>
            <a:pPr defTabSz="685800"/>
            <a:r>
              <a:rPr lang="en-US" sz="1350" dirty="0">
                <a:solidFill>
                  <a:srgbClr val="FF0000"/>
                </a:solidFill>
                <a:latin typeface="Arial" panose="020B0604020202020204" pitchFamily="34" charset="0"/>
                <a:cs typeface="Arial" panose="020B0604020202020204" pitchFamily="34" charset="0"/>
              </a:rPr>
              <a:t>Experiments were stopped at the end of February 2022.</a:t>
            </a:r>
          </a:p>
          <a:p>
            <a:pPr defTabSz="685800"/>
            <a:r>
              <a:rPr lang="en-US" sz="1350" dirty="0">
                <a:solidFill>
                  <a:prstClr val="black"/>
                </a:solidFill>
                <a:latin typeface="Arial" panose="020B0604020202020204" pitchFamily="34" charset="0"/>
                <a:cs typeface="Arial" panose="020B0604020202020204" pitchFamily="34" charset="0"/>
              </a:rPr>
              <a:t>Nevertheless, preparations of facilities for experiments resumed at the end of February 2024.</a:t>
            </a:r>
          </a:p>
          <a:p>
            <a:pPr defTabSz="685800"/>
            <a:r>
              <a:rPr lang="en-US" sz="1350" dirty="0">
                <a:solidFill>
                  <a:prstClr val="black"/>
                </a:solidFill>
                <a:latin typeface="Arial" panose="020B0604020202020204" pitchFamily="34" charset="0"/>
                <a:cs typeface="Arial" panose="020B0604020202020204" pitchFamily="34" charset="0"/>
              </a:rPr>
              <a:t>The summarizing and analysis of the earlier results of plasma impacts on tungsten is in progress.</a:t>
            </a:r>
          </a:p>
          <a:p>
            <a:pPr defTabSz="685800"/>
            <a:r>
              <a:rPr lang="en-US" sz="1350" dirty="0">
                <a:solidFill>
                  <a:prstClr val="black"/>
                </a:solidFill>
                <a:latin typeface="Arial" panose="020B0604020202020204" pitchFamily="34" charset="0"/>
                <a:cs typeface="Arial" panose="020B0604020202020204" pitchFamily="34" charset="0"/>
              </a:rPr>
              <a:t>A paper on the additional shielding of exposed surfaces with noble gas has been published in </a:t>
            </a:r>
            <a:r>
              <a:rPr lang="it-IT" sz="1350" dirty="0">
                <a:solidFill>
                  <a:prstClr val="black"/>
                </a:solidFill>
                <a:latin typeface="Arial" panose="020B0604020202020204" pitchFamily="34" charset="0"/>
                <a:cs typeface="Arial" panose="020B0604020202020204" pitchFamily="34" charset="0"/>
              </a:rPr>
              <a:t>Nucl. Fusion 64 (2024) 056010</a:t>
            </a:r>
            <a:endParaRPr lang="en-US" sz="1350" dirty="0">
              <a:solidFill>
                <a:prstClr val="black"/>
              </a:solidFill>
              <a:latin typeface="Arial" panose="020B0604020202020204" pitchFamily="34" charset="0"/>
              <a:cs typeface="Arial" panose="020B0604020202020204" pitchFamily="34" charset="0"/>
            </a:endParaRPr>
          </a:p>
          <a:p>
            <a:pPr defTabSz="685800"/>
            <a:r>
              <a:rPr lang="en-US" sz="1350" u="sng" dirty="0">
                <a:solidFill>
                  <a:srgbClr val="FF0000"/>
                </a:solidFill>
                <a:latin typeface="Arial" panose="020B0604020202020204" pitchFamily="34" charset="0"/>
                <a:cs typeface="Arial" panose="020B0604020202020204" pitchFamily="34" charset="0"/>
              </a:rPr>
              <a:t>We are planning to restart the plasma experiments at the beginning of summer 2024</a:t>
            </a:r>
          </a:p>
          <a:p>
            <a:pPr defTabSz="685800"/>
            <a:r>
              <a:rPr lang="en-US" sz="1350" u="sng" dirty="0">
                <a:solidFill>
                  <a:srgbClr val="FF0000"/>
                </a:solidFill>
                <a:latin typeface="Arial" panose="020B0604020202020204" pitchFamily="34" charset="0"/>
                <a:cs typeface="Arial" panose="020B0604020202020204" pitchFamily="34" charset="0"/>
              </a:rPr>
              <a:t> if the situation at KIPT is safe</a:t>
            </a:r>
          </a:p>
        </p:txBody>
      </p:sp>
      <p:sp>
        <p:nvSpPr>
          <p:cNvPr id="3" name="TextBox 58">
            <a:extLst>
              <a:ext uri="{FF2B5EF4-FFF2-40B4-BE49-F238E27FC236}">
                <a16:creationId xmlns:a16="http://schemas.microsoft.com/office/drawing/2014/main" id="{6B21817D-9964-5632-E743-D2BC026A0B35}"/>
              </a:ext>
            </a:extLst>
          </p:cNvPr>
          <p:cNvSpPr txBox="1"/>
          <p:nvPr/>
        </p:nvSpPr>
        <p:spPr>
          <a:xfrm>
            <a:off x="5234727" y="3341418"/>
            <a:ext cx="3600400" cy="461665"/>
          </a:xfrm>
          <a:prstGeom prst="rect">
            <a:avLst/>
          </a:prstGeom>
          <a:solidFill>
            <a:schemeClr val="accent3">
              <a:lumMod val="60000"/>
              <a:lumOff val="40000"/>
            </a:schemeClr>
          </a:solidFill>
          <a:ln>
            <a:solidFill>
              <a:schemeClr val="accent1"/>
            </a:solidFill>
          </a:ln>
        </p:spPr>
        <p:txBody>
          <a:bodyPr wrap="square" rtlCol="0">
            <a:spAutoFit/>
          </a:bodyPr>
          <a:lstStyle>
            <a:defPPr>
              <a:defRPr lang="en-GB"/>
            </a:defPPr>
            <a:lvl1pPr algn="l" rtl="0" fontAlgn="base">
              <a:spcBef>
                <a:spcPct val="0"/>
              </a:spcBef>
              <a:spcAft>
                <a:spcPct val="0"/>
              </a:spcAft>
              <a:defRPr sz="8200" kern="1200">
                <a:solidFill>
                  <a:schemeClr val="tx1"/>
                </a:solidFill>
                <a:latin typeface="Arial" charset="0"/>
                <a:ea typeface="+mn-ea"/>
                <a:cs typeface="+mn-cs"/>
              </a:defRPr>
            </a:lvl1pPr>
            <a:lvl2pPr marL="457200" algn="l" rtl="0" fontAlgn="base">
              <a:spcBef>
                <a:spcPct val="0"/>
              </a:spcBef>
              <a:spcAft>
                <a:spcPct val="0"/>
              </a:spcAft>
              <a:defRPr sz="8200" kern="1200">
                <a:solidFill>
                  <a:schemeClr val="tx1"/>
                </a:solidFill>
                <a:latin typeface="Arial" charset="0"/>
                <a:ea typeface="+mn-ea"/>
                <a:cs typeface="+mn-cs"/>
              </a:defRPr>
            </a:lvl2pPr>
            <a:lvl3pPr marL="914400" algn="l" rtl="0" fontAlgn="base">
              <a:spcBef>
                <a:spcPct val="0"/>
              </a:spcBef>
              <a:spcAft>
                <a:spcPct val="0"/>
              </a:spcAft>
              <a:defRPr sz="8200" kern="1200">
                <a:solidFill>
                  <a:schemeClr val="tx1"/>
                </a:solidFill>
                <a:latin typeface="Arial" charset="0"/>
                <a:ea typeface="+mn-ea"/>
                <a:cs typeface="+mn-cs"/>
              </a:defRPr>
            </a:lvl3pPr>
            <a:lvl4pPr marL="1371600" algn="l" rtl="0" fontAlgn="base">
              <a:spcBef>
                <a:spcPct val="0"/>
              </a:spcBef>
              <a:spcAft>
                <a:spcPct val="0"/>
              </a:spcAft>
              <a:defRPr sz="8200" kern="1200">
                <a:solidFill>
                  <a:schemeClr val="tx1"/>
                </a:solidFill>
                <a:latin typeface="Arial" charset="0"/>
                <a:ea typeface="+mn-ea"/>
                <a:cs typeface="+mn-cs"/>
              </a:defRPr>
            </a:lvl4pPr>
            <a:lvl5pPr marL="1828800" algn="l" rtl="0" fontAlgn="base">
              <a:spcBef>
                <a:spcPct val="0"/>
              </a:spcBef>
              <a:spcAft>
                <a:spcPct val="0"/>
              </a:spcAft>
              <a:defRPr sz="8200" kern="1200">
                <a:solidFill>
                  <a:schemeClr val="tx1"/>
                </a:solidFill>
                <a:latin typeface="Arial" charset="0"/>
                <a:ea typeface="+mn-ea"/>
                <a:cs typeface="+mn-cs"/>
              </a:defRPr>
            </a:lvl5pPr>
            <a:lvl6pPr marL="2286000" algn="l" defTabSz="914400" rtl="0" eaLnBrk="1" latinLnBrk="0" hangingPunct="1">
              <a:defRPr sz="8200" kern="1200">
                <a:solidFill>
                  <a:schemeClr val="tx1"/>
                </a:solidFill>
                <a:latin typeface="Arial" charset="0"/>
                <a:ea typeface="+mn-ea"/>
                <a:cs typeface="+mn-cs"/>
              </a:defRPr>
            </a:lvl6pPr>
            <a:lvl7pPr marL="2743200" algn="l" defTabSz="914400" rtl="0" eaLnBrk="1" latinLnBrk="0" hangingPunct="1">
              <a:defRPr sz="8200" kern="1200">
                <a:solidFill>
                  <a:schemeClr val="tx1"/>
                </a:solidFill>
                <a:latin typeface="Arial" charset="0"/>
                <a:ea typeface="+mn-ea"/>
                <a:cs typeface="+mn-cs"/>
              </a:defRPr>
            </a:lvl7pPr>
            <a:lvl8pPr marL="3200400" algn="l" defTabSz="914400" rtl="0" eaLnBrk="1" latinLnBrk="0" hangingPunct="1">
              <a:defRPr sz="8200" kern="1200">
                <a:solidFill>
                  <a:schemeClr val="tx1"/>
                </a:solidFill>
                <a:latin typeface="Arial" charset="0"/>
                <a:ea typeface="+mn-ea"/>
                <a:cs typeface="+mn-cs"/>
              </a:defRPr>
            </a:lvl8pPr>
            <a:lvl9pPr marL="3657600" algn="l" defTabSz="914400" rtl="0" eaLnBrk="1" latinLnBrk="0" hangingPunct="1">
              <a:defRPr sz="8200" kern="1200">
                <a:solidFill>
                  <a:schemeClr val="tx1"/>
                </a:solidFill>
                <a:latin typeface="Arial" charset="0"/>
                <a:ea typeface="+mn-ea"/>
                <a:cs typeface="+mn-cs"/>
              </a:defRPr>
            </a:lvl9pPr>
          </a:lstStyle>
          <a:p>
            <a:pPr defTabSz="685800"/>
            <a:r>
              <a:rPr lang="it-IT" sz="1200" b="1" dirty="0">
                <a:solidFill>
                  <a:prstClr val="black"/>
                </a:solidFill>
              </a:rPr>
              <a:t>V A Makhlai et al</a:t>
            </a:r>
            <a:r>
              <a:rPr lang="it-IT" sz="1200" b="1" i="1" dirty="0">
                <a:solidFill>
                  <a:prstClr val="black"/>
                </a:solidFill>
              </a:rPr>
              <a:t> 2020 </a:t>
            </a:r>
            <a:r>
              <a:rPr lang="fr-FR" sz="1200" b="1" i="1" dirty="0">
                <a:solidFill>
                  <a:prstClr val="black"/>
                </a:solidFill>
              </a:rPr>
              <a:t>Phys. Scr. T171, 014047</a:t>
            </a:r>
          </a:p>
          <a:p>
            <a:pPr defTabSz="685800"/>
            <a:r>
              <a:rPr lang="fr-FR" sz="1200" b="1" i="1" dirty="0">
                <a:solidFill>
                  <a:prstClr val="black"/>
                </a:solidFill>
              </a:rPr>
              <a:t>V.A. Makhlai et. al. 2021 Phys. Scr. 96, 124043</a:t>
            </a:r>
            <a:endParaRPr lang="uk-UA" sz="1200" b="1" dirty="0">
              <a:solidFill>
                <a:prstClr val="black"/>
              </a:solidFill>
            </a:endParaRPr>
          </a:p>
        </p:txBody>
      </p:sp>
    </p:spTree>
    <p:extLst>
      <p:ext uri="{BB962C8B-B14F-4D97-AF65-F5344CB8AC3E}">
        <p14:creationId xmlns:p14="http://schemas.microsoft.com/office/powerpoint/2010/main" val="7364899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7639" y="53213"/>
            <a:ext cx="8306017" cy="342900"/>
          </a:xfrm>
        </p:spPr>
        <p:txBody>
          <a:bodyPr/>
          <a:lstStyle/>
          <a:p>
            <a:r>
              <a:rPr lang="en-US" sz="1800">
                <a:solidFill>
                  <a:srgbClr val="000000"/>
                </a:solidFill>
                <a:ea typeface="SimSun" panose="02010600030101010101" pitchFamily="2" charset="-122"/>
              </a:rPr>
              <a:t>PWIE SP A: A1; A</a:t>
            </a:r>
            <a:r>
              <a:rPr lang="en-US" sz="1800" dirty="0">
                <a:solidFill>
                  <a:srgbClr val="000000"/>
                </a:solidFill>
                <a:ea typeface="SimSun" panose="02010600030101010101" pitchFamily="2" charset="-122"/>
              </a:rPr>
              <a:t>.3</a:t>
            </a:r>
            <a:r>
              <a:rPr lang="en-US" sz="1800">
                <a:solidFill>
                  <a:srgbClr val="000000"/>
                </a:solidFill>
                <a:ea typeface="SimSun" panose="02010600030101010101" pitchFamily="2" charset="-122"/>
              </a:rPr>
              <a:t>; A</a:t>
            </a:r>
            <a:r>
              <a:rPr lang="en-US" sz="1800" dirty="0">
                <a:solidFill>
                  <a:srgbClr val="000000"/>
                </a:solidFill>
                <a:ea typeface="SimSun" panose="02010600030101010101" pitchFamily="2" charset="-122"/>
              </a:rPr>
              <a:t>.4; plan of work within </a:t>
            </a:r>
            <a:r>
              <a:rPr lang="it-IT" sz="1800" dirty="0">
                <a:solidFill>
                  <a:srgbClr val="000000"/>
                </a:solidFill>
                <a:ea typeface="SimSun" panose="02010600030101010101" pitchFamily="2" charset="-122"/>
              </a:rPr>
              <a:t>KIPT</a:t>
            </a:r>
            <a:r>
              <a:rPr lang="en-US" sz="1800" dirty="0">
                <a:solidFill>
                  <a:srgbClr val="000000"/>
                </a:solidFill>
                <a:ea typeface="SimSun" panose="02010600030101010101" pitchFamily="2" charset="-122"/>
              </a:rPr>
              <a:t> in  2024 </a:t>
            </a:r>
            <a:endParaRPr lang="de-DE" sz="1800" dirty="0">
              <a:solidFill>
                <a:srgbClr val="000000"/>
              </a:solidFill>
              <a:ea typeface="SimSun" panose="02010600030101010101" pitchFamily="2" charset="-122"/>
            </a:endParaRPr>
          </a:p>
        </p:txBody>
      </p:sp>
      <p:sp>
        <p:nvSpPr>
          <p:cNvPr id="4" name="Fußzeilenplatzhalter 3"/>
          <p:cNvSpPr>
            <a:spLocks noGrp="1"/>
          </p:cNvSpPr>
          <p:nvPr>
            <p:ph type="ftr" sz="quarter" idx="11"/>
          </p:nvPr>
        </p:nvSpPr>
        <p:spPr/>
        <p:txBody>
          <a:bodyPr/>
          <a:lstStyle/>
          <a:p>
            <a:pPr algn="r" defTabSz="685800"/>
            <a:r>
              <a:rPr lang="en-GB" dirty="0">
                <a:solidFill>
                  <a:prstClr val="black"/>
                </a:solidFill>
              </a:rPr>
              <a:t>| PWIE SPA Kick-Off meeting | Zoom | 09.04.2024 | Page </a:t>
            </a:r>
            <a:fld id="{6A6D9FA1-99C7-4910-8E32-B85D378B0060}" type="slidenum">
              <a:rPr lang="en-GB">
                <a:solidFill>
                  <a:prstClr val="black"/>
                </a:solidFill>
              </a:rPr>
              <a:pPr algn="r" defTabSz="685800"/>
              <a:t>35</a:t>
            </a:fld>
            <a:endParaRPr lang="en-GB" dirty="0">
              <a:solidFill>
                <a:prstClr val="black"/>
              </a:solidFill>
            </a:endParaRPr>
          </a:p>
        </p:txBody>
      </p:sp>
      <p:sp>
        <p:nvSpPr>
          <p:cNvPr id="6" name="TextBox 5">
            <a:extLst>
              <a:ext uri="{FF2B5EF4-FFF2-40B4-BE49-F238E27FC236}">
                <a16:creationId xmlns:a16="http://schemas.microsoft.com/office/drawing/2014/main" id="{D9B1B3FE-96E7-3685-4F72-EF6B59C9668B}"/>
              </a:ext>
            </a:extLst>
          </p:cNvPr>
          <p:cNvSpPr txBox="1"/>
          <p:nvPr/>
        </p:nvSpPr>
        <p:spPr>
          <a:xfrm>
            <a:off x="57640" y="577497"/>
            <a:ext cx="9028721" cy="4455066"/>
          </a:xfrm>
          <a:prstGeom prst="rect">
            <a:avLst/>
          </a:prstGeom>
          <a:noFill/>
        </p:spPr>
        <p:txBody>
          <a:bodyPr wrap="square" rtlCol="0">
            <a:spAutoFit/>
          </a:bodyPr>
          <a:lstStyle/>
          <a:p>
            <a:pPr defTabSz="685800"/>
            <a:r>
              <a:rPr lang="ru-UA" sz="1350" b="1" kern="0" dirty="0">
                <a:solidFill>
                  <a:prstClr val="black"/>
                </a:solidFill>
                <a:latin typeface="Arial" panose="020B0604020202020204" pitchFamily="34" charset="0"/>
                <a:ea typeface="Times New Roman" panose="02020603050405020304" pitchFamily="18" charset="0"/>
                <a:cs typeface="Arial" panose="020B0604020202020204" pitchFamily="34" charset="0"/>
              </a:rPr>
              <a:t>PWIE-SP A.A1.T-T004-D005</a:t>
            </a:r>
            <a:r>
              <a:rPr lang="ru-UA" sz="1350" kern="0" dirty="0">
                <a:solidFill>
                  <a:prstClr val="black"/>
                </a:solidFill>
                <a:latin typeface="Arial" panose="020B0604020202020204" pitchFamily="34" charset="0"/>
                <a:ea typeface="Times New Roman" panose="02020603050405020304" pitchFamily="18" charset="0"/>
                <a:cs typeface="Arial" panose="020B0604020202020204" pitchFamily="34" charset="0"/>
              </a:rPr>
              <a:t> </a:t>
            </a: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Analysis of material properties after sequential HHF transient and steady-state plasma loading (KIPT).</a:t>
            </a:r>
          </a:p>
          <a:p>
            <a:pPr marL="459000" lvl="2" indent="-189000" defTabSz="685800">
              <a:buFont typeface="Arial" panose="020B0604020202020204" pitchFamily="34" charset="0"/>
              <a:buChar char="•"/>
            </a:pPr>
            <a:r>
              <a:rPr lang="en-US" sz="1350" dirty="0">
                <a:solidFill>
                  <a:prstClr val="black"/>
                </a:solidFill>
                <a:latin typeface="Arial" panose="020B0604020202020204" pitchFamily="34" charset="0"/>
                <a:cs typeface="Arial" panose="020B0604020202020204" pitchFamily="34" charset="0"/>
              </a:rPr>
              <a:t>The summarizing and analysis of the earlier results of plasma impacts on tungsten will be continued.</a:t>
            </a:r>
          </a:p>
          <a:p>
            <a:pPr marL="459000" lvl="2" indent="-189000" defTabSz="685800">
              <a:buFont typeface="Arial" panose="020B0604020202020204" pitchFamily="34" charset="0"/>
              <a:buChar char="•"/>
            </a:pP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Damaging of samples will be evaluated for different loadings (incl. different gas mixtures, pulse durations, number of pulses, sequential loads, etc.).</a:t>
            </a:r>
          </a:p>
          <a:p>
            <a:pPr marL="459000" lvl="2" indent="-189000" defTabSz="685800">
              <a:buFont typeface="Arial" panose="020B0604020202020204" pitchFamily="34" charset="0"/>
              <a:buChar char="•"/>
            </a:pP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The influence of sequential transient and steady-state plasma loading on cracking/melting thresholds will be studied</a:t>
            </a:r>
            <a:endPar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algn="just" defTabSz="685800"/>
            <a:r>
              <a:rPr lang="en-US" sz="1350" b="1" dirty="0">
                <a:solidFill>
                  <a:prstClr val="black"/>
                </a:solidFill>
                <a:latin typeface="Arial" panose="020B0604020202020204" pitchFamily="34" charset="0"/>
                <a:cs typeface="Arial" panose="020B0604020202020204" pitchFamily="34" charset="0"/>
              </a:rPr>
              <a:t>PWIE-SP A.A3.T-T004-D004 </a:t>
            </a:r>
            <a:r>
              <a:rPr lang="en-US" sz="1350" dirty="0">
                <a:solidFill>
                  <a:prstClr val="black"/>
                </a:solidFill>
                <a:latin typeface="Arial" panose="020B0604020202020204" pitchFamily="34" charset="0"/>
                <a:ea typeface="Calibri" panose="020F0502020204030204" pitchFamily="34" charset="0"/>
                <a:cs typeface="Arial" panose="020B0604020202020204" pitchFamily="34" charset="0"/>
              </a:rPr>
              <a:t>Investigation of advanced materials and coatings under ELM-like/disruption transient loading and subsequent analysis.(KIPT)</a:t>
            </a:r>
            <a:r>
              <a:rPr lang="en-US" sz="1350" dirty="0">
                <a:solidFill>
                  <a:prstClr val="black"/>
                </a:solidFill>
                <a:latin typeface="Arial" panose="020B0604020202020204" pitchFamily="34" charset="0"/>
                <a:cs typeface="Arial" panose="020B0604020202020204" pitchFamily="34" charset="0"/>
              </a:rPr>
              <a:t>.</a:t>
            </a:r>
          </a:p>
          <a:p>
            <a:pPr marL="484313" indent="-214313" algn="just" defTabSz="685800">
              <a:buFont typeface="Arial" panose="020B0604020202020204" pitchFamily="34" charset="0"/>
              <a:buChar char="•"/>
            </a:pP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The investigation will involve advanced materials (different types of tungsten and etc.) and coatings deposited on various materials, subjected to high flux transient plasma loads.</a:t>
            </a:r>
          </a:p>
          <a:p>
            <a:pPr marL="459000" indent="-189000" algn="just" defTabSz="685800">
              <a:buFont typeface="Arial" panose="020B0604020202020204" pitchFamily="34" charset="0"/>
              <a:buChar char="•"/>
            </a:pP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The high flux testing of boron coatings deposited on different materials (austenitic and RAFM steels, copper, tungsten, etc.) followed by analysis will be performed too.</a:t>
            </a:r>
            <a:endParaRPr lang="en-US" sz="1350" dirty="0">
              <a:solidFill>
                <a:srgbClr val="7030A0"/>
              </a:solidFill>
              <a:latin typeface="Arial" panose="020B0604020202020204" pitchFamily="34" charset="0"/>
              <a:cs typeface="Arial" panose="020B0604020202020204" pitchFamily="34" charset="0"/>
            </a:endParaRPr>
          </a:p>
          <a:p>
            <a:pPr algn="just" defTabSz="685800"/>
            <a:r>
              <a:rPr lang="en-US" sz="1350" b="1" kern="100" dirty="0">
                <a:solidFill>
                  <a:prstClr val="black"/>
                </a:solidFill>
                <a:latin typeface="Arial" panose="020B0604020202020204" pitchFamily="34" charset="0"/>
                <a:ea typeface="Calibri" panose="020F0502020204030204" pitchFamily="34" charset="0"/>
                <a:cs typeface="Arial" panose="020B0604020202020204" pitchFamily="34" charset="0"/>
              </a:rPr>
              <a:t>PWIE-SP A.A4.T-T004-D004:</a:t>
            </a: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 Influence of plasma pre-irradiation with heat loads near surface recrystallization on surface damaging with heat loads above the melting threshold (KIPT)</a:t>
            </a:r>
            <a:endParaRPr lang="ru-UA" sz="135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459000" indent="-189000" algn="just" defTabSz="685800">
              <a:buFont typeface="Arial" panose="020B0604020202020204" pitchFamily="34" charset="0"/>
              <a:buChar char="•"/>
            </a:pP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Investigation of surface damaging/modification due to melt motion on surfaces of the reference materials will be performed. </a:t>
            </a:r>
            <a:endParaRPr lang="ru-UA" sz="135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459000" indent="-189000" algn="just" defTabSz="685800">
              <a:buFont typeface="Arial" panose="020B0604020202020204" pitchFamily="34" charset="0"/>
              <a:buChar char="•"/>
            </a:pP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Modification of reference materials will also be performed by mixing them with previously deposited coatings (including tungsten coatings) under a powerful plasma impact.</a:t>
            </a:r>
            <a:endParaRPr lang="ru-UA" sz="135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459000" indent="-189000" algn="just" defTabSz="685800">
              <a:buFont typeface="Arial" panose="020B0604020202020204" pitchFamily="34" charset="0"/>
              <a:buChar char="•"/>
            </a:pPr>
            <a:r>
              <a:rPr lang="en-US" sz="1350" kern="100" dirty="0">
                <a:solidFill>
                  <a:prstClr val="black"/>
                </a:solidFill>
                <a:latin typeface="Arial" panose="020B0604020202020204" pitchFamily="34" charset="0"/>
                <a:ea typeface="Calibri" panose="020F0502020204030204" pitchFamily="34" charset="0"/>
                <a:cs typeface="Arial" panose="020B0604020202020204" pitchFamily="34" charset="0"/>
              </a:rPr>
              <a:t>Key mechanisms of liquid droplets as well as solid dust ejection will also be evaluated. </a:t>
            </a:r>
            <a:endParaRPr lang="ru-UA" sz="1350" kern="1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0" lvl="2" defTabSz="685800"/>
            <a:endParaRPr lang="en-US" sz="1350" dirty="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07359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Overview</a:t>
            </a:r>
          </a:p>
        </p:txBody>
      </p:sp>
      <p:sp>
        <p:nvSpPr>
          <p:cNvPr id="3" name="Subtitle 2"/>
          <p:cNvSpPr>
            <a:spLocks noGrp="1"/>
          </p:cNvSpPr>
          <p:nvPr>
            <p:ph type="subTitle" idx="1"/>
          </p:nvPr>
        </p:nvSpPr>
        <p:spPr/>
        <p:txBody>
          <a:bodyPr>
            <a:normAutofit fontScale="85000" lnSpcReduction="20000"/>
          </a:bodyPr>
          <a:lstStyle/>
          <a:p>
            <a:r>
              <a:rPr lang="en-US" dirty="0"/>
              <a:t>SPA</a:t>
            </a:r>
          </a:p>
        </p:txBody>
      </p:sp>
      <p:sp>
        <p:nvSpPr>
          <p:cNvPr id="8" name="Bildplatzhalter 7">
            <a:extLst>
              <a:ext uri="{FF2B5EF4-FFF2-40B4-BE49-F238E27FC236}">
                <a16:creationId xmlns:a16="http://schemas.microsoft.com/office/drawing/2014/main" id="{9F7AC7C5-19D3-A038-3E45-F08107D11808}"/>
              </a:ext>
            </a:extLst>
          </p:cNvPr>
          <p:cNvSpPr>
            <a:spLocks noGrp="1"/>
          </p:cNvSpPr>
          <p:nvPr>
            <p:ph type="pic" sz="quarter" idx="10"/>
          </p:nvPr>
        </p:nvSpPr>
        <p:spPr/>
        <p:txBody>
          <a:bodyPr/>
          <a:lstStyle/>
          <a:p>
            <a:endParaRPr lang="en-GB"/>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2352880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471977-1F60-6FBC-3742-C777C052C9B4}"/>
              </a:ext>
            </a:extLst>
          </p:cNvPr>
          <p:cNvSpPr>
            <a:spLocks noGrp="1"/>
          </p:cNvSpPr>
          <p:nvPr>
            <p:ph type="title"/>
          </p:nvPr>
        </p:nvSpPr>
        <p:spPr/>
        <p:txBody>
          <a:bodyPr/>
          <a:lstStyle/>
          <a:p>
            <a:r>
              <a:rPr lang="en-GB" dirty="0"/>
              <a:t>Milestones 2024</a:t>
            </a:r>
          </a:p>
        </p:txBody>
      </p:sp>
      <p:graphicFrame>
        <p:nvGraphicFramePr>
          <p:cNvPr id="5" name="Tabelle 4">
            <a:extLst>
              <a:ext uri="{FF2B5EF4-FFF2-40B4-BE49-F238E27FC236}">
                <a16:creationId xmlns:a16="http://schemas.microsoft.com/office/drawing/2014/main" id="{4BD9E893-BF55-60A4-7761-0D2A9DA20170}"/>
              </a:ext>
            </a:extLst>
          </p:cNvPr>
          <p:cNvGraphicFramePr>
            <a:graphicFrameLocks noGrp="1"/>
          </p:cNvGraphicFramePr>
          <p:nvPr/>
        </p:nvGraphicFramePr>
        <p:xfrm>
          <a:off x="457200" y="1177829"/>
          <a:ext cx="8229600" cy="3438718"/>
        </p:xfrm>
        <a:graphic>
          <a:graphicData uri="http://schemas.openxmlformats.org/drawingml/2006/table">
            <a:tbl>
              <a:tblPr firstRow="1" firstCol="1" bandRow="1">
                <a:tableStyleId>{5C22544A-7EE6-4342-B048-85BDC9FD1C3A}</a:tableStyleId>
              </a:tblPr>
              <a:tblGrid>
                <a:gridCol w="1552017">
                  <a:extLst>
                    <a:ext uri="{9D8B030D-6E8A-4147-A177-3AD203B41FA5}">
                      <a16:colId xmlns:a16="http://schemas.microsoft.com/office/drawing/2014/main" val="3067341950"/>
                    </a:ext>
                  </a:extLst>
                </a:gridCol>
                <a:gridCol w="1278131">
                  <a:extLst>
                    <a:ext uri="{9D8B030D-6E8A-4147-A177-3AD203B41FA5}">
                      <a16:colId xmlns:a16="http://schemas.microsoft.com/office/drawing/2014/main" val="1841478169"/>
                    </a:ext>
                  </a:extLst>
                </a:gridCol>
                <a:gridCol w="3679192">
                  <a:extLst>
                    <a:ext uri="{9D8B030D-6E8A-4147-A177-3AD203B41FA5}">
                      <a16:colId xmlns:a16="http://schemas.microsoft.com/office/drawing/2014/main" val="582173751"/>
                    </a:ext>
                  </a:extLst>
                </a:gridCol>
                <a:gridCol w="1720260">
                  <a:extLst>
                    <a:ext uri="{9D8B030D-6E8A-4147-A177-3AD203B41FA5}">
                      <a16:colId xmlns:a16="http://schemas.microsoft.com/office/drawing/2014/main" val="212250958"/>
                    </a:ext>
                  </a:extLst>
                </a:gridCol>
              </a:tblGrid>
              <a:tr h="383794">
                <a:tc>
                  <a:txBody>
                    <a:bodyPr/>
                    <a:lstStyle/>
                    <a:p>
                      <a:pPr algn="ctr">
                        <a:lnSpc>
                          <a:spcPct val="115000"/>
                        </a:lnSpc>
                        <a:spcBef>
                          <a:spcPts val="200"/>
                        </a:spcBef>
                        <a:spcAft>
                          <a:spcPts val="200"/>
                        </a:spcAft>
                      </a:pPr>
                      <a:r>
                        <a:rPr lang="en-US" sz="1100" dirty="0">
                          <a:effectLst/>
                        </a:rPr>
                        <a:t>Sequential</a:t>
                      </a:r>
                      <a:endParaRPr lang="de-DE" sz="1100" dirty="0">
                        <a:effectLst/>
                      </a:endParaRPr>
                    </a:p>
                    <a:p>
                      <a:pPr algn="ctr">
                        <a:lnSpc>
                          <a:spcPct val="115000"/>
                        </a:lnSpc>
                        <a:spcAft>
                          <a:spcPts val="300"/>
                        </a:spcAft>
                      </a:pPr>
                      <a:r>
                        <a:rPr lang="en-US" sz="1100" dirty="0">
                          <a:effectLst/>
                        </a:rPr>
                        <a:t>WP-M ID</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gn="ctr">
                        <a:lnSpc>
                          <a:spcPct val="115000"/>
                        </a:lnSpc>
                        <a:spcBef>
                          <a:spcPts val="200"/>
                        </a:spcBef>
                        <a:spcAft>
                          <a:spcPts val="200"/>
                        </a:spcAft>
                      </a:pPr>
                      <a:r>
                        <a:rPr lang="en-US" sz="1100">
                          <a:effectLst/>
                        </a:rPr>
                        <a:t>Related</a:t>
                      </a:r>
                      <a:endParaRPr lang="de-DE" sz="1100">
                        <a:effectLst/>
                      </a:endParaRPr>
                    </a:p>
                    <a:p>
                      <a:pPr algn="ctr">
                        <a:lnSpc>
                          <a:spcPct val="115000"/>
                        </a:lnSpc>
                        <a:spcAft>
                          <a:spcPts val="300"/>
                        </a:spcAft>
                      </a:pPr>
                      <a:r>
                        <a:rPr lang="en-US" sz="1100">
                          <a:effectLst/>
                        </a:rPr>
                        <a:t>WBS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gn="ctr">
                        <a:lnSpc>
                          <a:spcPct val="115000"/>
                        </a:lnSpc>
                        <a:spcAft>
                          <a:spcPts val="300"/>
                        </a:spcAft>
                      </a:pPr>
                      <a:r>
                        <a:rPr lang="en-US" sz="1100">
                          <a:effectLst/>
                        </a:rPr>
                        <a:t>WP Mileston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nchor="ctr"/>
                </a:tc>
                <a:tc>
                  <a:txBody>
                    <a:bodyPr/>
                    <a:lstStyle/>
                    <a:p>
                      <a:pPr algn="ctr">
                        <a:lnSpc>
                          <a:spcPct val="115000"/>
                        </a:lnSpc>
                        <a:spcBef>
                          <a:spcPts val="200"/>
                        </a:spcBef>
                        <a:spcAft>
                          <a:spcPts val="200"/>
                        </a:spcAft>
                      </a:pPr>
                      <a:r>
                        <a:rPr lang="en-US" sz="1100" dirty="0">
                          <a:effectLst/>
                        </a:rPr>
                        <a:t>Due Date</a:t>
                      </a:r>
                      <a:endParaRPr lang="de-DE" sz="1100" dirty="0">
                        <a:effectLst/>
                      </a:endParaRPr>
                    </a:p>
                    <a:p>
                      <a:pPr algn="ctr">
                        <a:lnSpc>
                          <a:spcPct val="115000"/>
                        </a:lnSpc>
                        <a:spcAft>
                          <a:spcPts val="300"/>
                        </a:spcAft>
                      </a:pPr>
                      <a:r>
                        <a:rPr lang="en-US" sz="1100" dirty="0">
                          <a:effectLst/>
                        </a:rPr>
                        <a:t>[mm/</a:t>
                      </a:r>
                      <a:r>
                        <a:rPr lang="en-US" sz="1100" dirty="0" err="1">
                          <a:effectLst/>
                        </a:rPr>
                        <a:t>yyyy</a:t>
                      </a:r>
                      <a:r>
                        <a:rPr lang="en-US" sz="1100" dirty="0">
                          <a:effectLst/>
                        </a:rPr>
                        <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814085178"/>
                  </a:ext>
                </a:extLst>
              </a:tr>
              <a:tr h="914871">
                <a:tc>
                  <a:txBody>
                    <a:bodyPr/>
                    <a:lstStyle/>
                    <a:p>
                      <a:pPr>
                        <a:lnSpc>
                          <a:spcPct val="115000"/>
                        </a:lnSpc>
                        <a:spcAft>
                          <a:spcPts val="300"/>
                        </a:spcAft>
                      </a:pPr>
                      <a:r>
                        <a:rPr lang="en-GB" sz="1100">
                          <a:effectLst/>
                        </a:rPr>
                        <a:t>WM8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Feasibility of advanced plasma-facing materials for DEMO, including prototype materials like W FGMs on steel (with WPBB) assessed. Connecting the assessment of their lifespan to testing conducted in facilities such as WEST, MAGNUM-PSI, GLADIS, and JUDITH. (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186754012"/>
                  </a:ext>
                </a:extLst>
              </a:tr>
              <a:tr h="729714">
                <a:tc>
                  <a:txBody>
                    <a:bodyPr/>
                    <a:lstStyle/>
                    <a:p>
                      <a:pPr>
                        <a:lnSpc>
                          <a:spcPct val="115000"/>
                        </a:lnSpc>
                        <a:spcAft>
                          <a:spcPts val="300"/>
                        </a:spcAft>
                      </a:pPr>
                      <a:r>
                        <a:rPr lang="en-GB" sz="1100">
                          <a:effectLst/>
                        </a:rPr>
                        <a:t>WM8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The damage and evolution of material structure on WEST components, as well as linear facilities, analysed. Further investigations into the physics of material recrystallization, including µ-CT studies. (ITER+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3244203224"/>
                  </a:ext>
                </a:extLst>
              </a:tr>
              <a:tr h="544556">
                <a:tc>
                  <a:txBody>
                    <a:bodyPr/>
                    <a:lstStyle/>
                    <a:p>
                      <a:pPr>
                        <a:lnSpc>
                          <a:spcPct val="115000"/>
                        </a:lnSpc>
                        <a:spcAft>
                          <a:spcPts val="300"/>
                        </a:spcAft>
                      </a:pPr>
                      <a:r>
                        <a:rPr lang="en-GB" sz="1100">
                          <a:effectLst/>
                        </a:rPr>
                        <a:t>WM8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High fluence experiments with transients on MAGNUM PSI executed to facilitate lifetime and component evolution for ITER and DEMO. (ITER+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3359034183"/>
                  </a:ext>
                </a:extLst>
              </a:tr>
              <a:tr h="729714">
                <a:tc>
                  <a:txBody>
                    <a:bodyPr/>
                    <a:lstStyle/>
                    <a:p>
                      <a:pPr>
                        <a:lnSpc>
                          <a:spcPct val="115000"/>
                        </a:lnSpc>
                        <a:spcAft>
                          <a:spcPts val="300"/>
                        </a:spcAft>
                      </a:pPr>
                      <a:r>
                        <a:rPr lang="en-GB" sz="1100">
                          <a:effectLst/>
                        </a:rPr>
                        <a:t>WM8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Experimental studies on ITER relevant loads such as VDEs, related to new W-Wall PFCs executed and analysed. Accompanying studies utilizing modelling with e.g. Memento. (IT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dirty="0">
                          <a:effectLst/>
                        </a:rPr>
                        <a:t>31.12.202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1909321991"/>
                  </a:ext>
                </a:extLst>
              </a:tr>
            </a:tbl>
          </a:graphicData>
        </a:graphic>
      </p:graphicFrame>
      <p:sp>
        <p:nvSpPr>
          <p:cNvPr id="6" name="Fußzeilenplatzhalter 3">
            <a:extLst>
              <a:ext uri="{FF2B5EF4-FFF2-40B4-BE49-F238E27FC236}">
                <a16:creationId xmlns:a16="http://schemas.microsoft.com/office/drawing/2014/main" id="{4ED4A2FA-38FC-827F-B972-EB10F42778A5}"/>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37</a:t>
            </a:fld>
            <a:endParaRPr lang="en-GB" dirty="0"/>
          </a:p>
        </p:txBody>
      </p:sp>
      <p:sp>
        <p:nvSpPr>
          <p:cNvPr id="3" name="Textfeld 2">
            <a:extLst>
              <a:ext uri="{FF2B5EF4-FFF2-40B4-BE49-F238E27FC236}">
                <a16:creationId xmlns:a16="http://schemas.microsoft.com/office/drawing/2014/main" id="{F600BB06-05C2-DA59-DE72-061FC2722DC2}"/>
              </a:ext>
            </a:extLst>
          </p:cNvPr>
          <p:cNvSpPr txBox="1"/>
          <p:nvPr/>
        </p:nvSpPr>
        <p:spPr>
          <a:xfrm>
            <a:off x="421896" y="662307"/>
            <a:ext cx="2308132" cy="369332"/>
          </a:xfrm>
          <a:prstGeom prst="rect">
            <a:avLst/>
          </a:prstGeom>
          <a:noFill/>
        </p:spPr>
        <p:txBody>
          <a:bodyPr wrap="none" rtlCol="0">
            <a:spAutoFit/>
          </a:bodyPr>
          <a:lstStyle/>
          <a:p>
            <a:r>
              <a:rPr lang="en-GB" dirty="0"/>
              <a:t>Proceeding as planned</a:t>
            </a:r>
          </a:p>
        </p:txBody>
      </p:sp>
    </p:spTree>
    <p:extLst>
      <p:ext uri="{BB962C8B-B14F-4D97-AF65-F5344CB8AC3E}">
        <p14:creationId xmlns:p14="http://schemas.microsoft.com/office/powerpoint/2010/main" val="8367656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A9608C-AC64-CD40-AAF0-CB5EAABCC473}"/>
              </a:ext>
            </a:extLst>
          </p:cNvPr>
          <p:cNvSpPr>
            <a:spLocks noGrp="1"/>
          </p:cNvSpPr>
          <p:nvPr>
            <p:ph type="title"/>
          </p:nvPr>
        </p:nvSpPr>
        <p:spPr/>
        <p:txBody>
          <a:bodyPr/>
          <a:lstStyle/>
          <a:p>
            <a:endParaRPr lang="en-US"/>
          </a:p>
        </p:txBody>
      </p:sp>
      <p:sp>
        <p:nvSpPr>
          <p:cNvPr id="4" name="Footer Placeholder 3">
            <a:extLst>
              <a:ext uri="{FF2B5EF4-FFF2-40B4-BE49-F238E27FC236}">
                <a16:creationId xmlns:a16="http://schemas.microsoft.com/office/drawing/2014/main" id="{F65950EF-3AE2-D0A4-410C-756C438E280C}"/>
              </a:ext>
            </a:extLst>
          </p:cNvPr>
          <p:cNvSpPr>
            <a:spLocks noGrp="1"/>
          </p:cNvSpPr>
          <p:nvPr>
            <p:ph type="ftr" sz="quarter" idx="11"/>
          </p:nvPr>
        </p:nvSpPr>
        <p:spPr/>
        <p:txBody>
          <a:bodyPr/>
          <a:lstStyle/>
          <a:p>
            <a:pPr algn="r"/>
            <a:r>
              <a:rPr lang="en-GB"/>
              <a:t>Name of presenter | Conference | Venue | Date | Page </a:t>
            </a:r>
            <a:fld id="{6A6D9FA1-99C7-4910-8E32-B85D378B0060}" type="slidenum">
              <a:rPr lang="en-GB" smtClean="0"/>
              <a:pPr algn="r"/>
              <a:t>38</a:t>
            </a:fld>
            <a:endParaRPr lang="en-GB" dirty="0"/>
          </a:p>
        </p:txBody>
      </p:sp>
      <p:pic>
        <p:nvPicPr>
          <p:cNvPr id="6" name="Content Placeholder 5" descr="Diagram">
            <a:extLst>
              <a:ext uri="{FF2B5EF4-FFF2-40B4-BE49-F238E27FC236}">
                <a16:creationId xmlns:a16="http://schemas.microsoft.com/office/drawing/2014/main" id="{0E833501-214F-3E51-98C5-69E5E6F4508C}"/>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309589" y="626467"/>
            <a:ext cx="6524822" cy="3673475"/>
          </a:xfrm>
        </p:spPr>
      </p:pic>
    </p:spTree>
    <p:extLst>
      <p:ext uri="{BB962C8B-B14F-4D97-AF65-F5344CB8AC3E}">
        <p14:creationId xmlns:p14="http://schemas.microsoft.com/office/powerpoint/2010/main" val="1073596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Overview</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err="1">
                <a:solidFill>
                  <a:srgbClr val="E3E3E3"/>
                </a:solidFill>
              </a:rPr>
              <a:t>Planing</a:t>
            </a:r>
            <a:r>
              <a:rPr lang="en-US" dirty="0">
                <a:solidFill>
                  <a:srgbClr val="E3E3E3"/>
                </a:solidFill>
              </a:rPr>
              <a:t> &amp; Deliverables </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29138232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471977-1F60-6FBC-3742-C777C052C9B4}"/>
              </a:ext>
            </a:extLst>
          </p:cNvPr>
          <p:cNvSpPr>
            <a:spLocks noGrp="1"/>
          </p:cNvSpPr>
          <p:nvPr>
            <p:ph type="title"/>
          </p:nvPr>
        </p:nvSpPr>
        <p:spPr/>
        <p:txBody>
          <a:bodyPr/>
          <a:lstStyle/>
          <a:p>
            <a:r>
              <a:rPr lang="en-GB" dirty="0"/>
              <a:t>Milestones 2024</a:t>
            </a:r>
          </a:p>
        </p:txBody>
      </p:sp>
      <p:graphicFrame>
        <p:nvGraphicFramePr>
          <p:cNvPr id="5" name="Tabelle 4">
            <a:extLst>
              <a:ext uri="{FF2B5EF4-FFF2-40B4-BE49-F238E27FC236}">
                <a16:creationId xmlns:a16="http://schemas.microsoft.com/office/drawing/2014/main" id="{4BD9E893-BF55-60A4-7761-0D2A9DA20170}"/>
              </a:ext>
            </a:extLst>
          </p:cNvPr>
          <p:cNvGraphicFramePr>
            <a:graphicFrameLocks noGrp="1"/>
          </p:cNvGraphicFramePr>
          <p:nvPr>
            <p:extLst>
              <p:ext uri="{D42A27DB-BD31-4B8C-83A1-F6EECF244321}">
                <p14:modId xmlns:p14="http://schemas.microsoft.com/office/powerpoint/2010/main" val="867638188"/>
              </p:ext>
            </p:extLst>
          </p:nvPr>
        </p:nvGraphicFramePr>
        <p:xfrm>
          <a:off x="457200" y="1177829"/>
          <a:ext cx="8229600" cy="3438718"/>
        </p:xfrm>
        <a:graphic>
          <a:graphicData uri="http://schemas.openxmlformats.org/drawingml/2006/table">
            <a:tbl>
              <a:tblPr firstRow="1" firstCol="1" bandRow="1">
                <a:tableStyleId>{5C22544A-7EE6-4342-B048-85BDC9FD1C3A}</a:tableStyleId>
              </a:tblPr>
              <a:tblGrid>
                <a:gridCol w="1552017">
                  <a:extLst>
                    <a:ext uri="{9D8B030D-6E8A-4147-A177-3AD203B41FA5}">
                      <a16:colId xmlns:a16="http://schemas.microsoft.com/office/drawing/2014/main" val="3067341950"/>
                    </a:ext>
                  </a:extLst>
                </a:gridCol>
                <a:gridCol w="1278131">
                  <a:extLst>
                    <a:ext uri="{9D8B030D-6E8A-4147-A177-3AD203B41FA5}">
                      <a16:colId xmlns:a16="http://schemas.microsoft.com/office/drawing/2014/main" val="1841478169"/>
                    </a:ext>
                  </a:extLst>
                </a:gridCol>
                <a:gridCol w="3679192">
                  <a:extLst>
                    <a:ext uri="{9D8B030D-6E8A-4147-A177-3AD203B41FA5}">
                      <a16:colId xmlns:a16="http://schemas.microsoft.com/office/drawing/2014/main" val="582173751"/>
                    </a:ext>
                  </a:extLst>
                </a:gridCol>
                <a:gridCol w="1720260">
                  <a:extLst>
                    <a:ext uri="{9D8B030D-6E8A-4147-A177-3AD203B41FA5}">
                      <a16:colId xmlns:a16="http://schemas.microsoft.com/office/drawing/2014/main" val="212250958"/>
                    </a:ext>
                  </a:extLst>
                </a:gridCol>
              </a:tblGrid>
              <a:tr h="383794">
                <a:tc>
                  <a:txBody>
                    <a:bodyPr/>
                    <a:lstStyle/>
                    <a:p>
                      <a:pPr algn="ctr">
                        <a:lnSpc>
                          <a:spcPct val="115000"/>
                        </a:lnSpc>
                        <a:spcBef>
                          <a:spcPts val="200"/>
                        </a:spcBef>
                        <a:spcAft>
                          <a:spcPts val="200"/>
                        </a:spcAft>
                      </a:pPr>
                      <a:r>
                        <a:rPr lang="en-US" sz="1100" dirty="0">
                          <a:effectLst/>
                        </a:rPr>
                        <a:t>Sequential</a:t>
                      </a:r>
                      <a:endParaRPr lang="de-DE" sz="1100" dirty="0">
                        <a:effectLst/>
                      </a:endParaRPr>
                    </a:p>
                    <a:p>
                      <a:pPr algn="ctr">
                        <a:lnSpc>
                          <a:spcPct val="115000"/>
                        </a:lnSpc>
                        <a:spcAft>
                          <a:spcPts val="300"/>
                        </a:spcAft>
                      </a:pPr>
                      <a:r>
                        <a:rPr lang="en-US" sz="1100" dirty="0">
                          <a:effectLst/>
                        </a:rPr>
                        <a:t>WP-M ID</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gn="ctr">
                        <a:lnSpc>
                          <a:spcPct val="115000"/>
                        </a:lnSpc>
                        <a:spcBef>
                          <a:spcPts val="200"/>
                        </a:spcBef>
                        <a:spcAft>
                          <a:spcPts val="200"/>
                        </a:spcAft>
                      </a:pPr>
                      <a:r>
                        <a:rPr lang="en-US" sz="1100">
                          <a:effectLst/>
                        </a:rPr>
                        <a:t>Related</a:t>
                      </a:r>
                      <a:endParaRPr lang="de-DE" sz="1100">
                        <a:effectLst/>
                      </a:endParaRPr>
                    </a:p>
                    <a:p>
                      <a:pPr algn="ctr">
                        <a:lnSpc>
                          <a:spcPct val="115000"/>
                        </a:lnSpc>
                        <a:spcAft>
                          <a:spcPts val="300"/>
                        </a:spcAft>
                      </a:pPr>
                      <a:r>
                        <a:rPr lang="en-US" sz="1100">
                          <a:effectLst/>
                        </a:rPr>
                        <a:t>WBS ID</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gn="ctr">
                        <a:lnSpc>
                          <a:spcPct val="115000"/>
                        </a:lnSpc>
                        <a:spcAft>
                          <a:spcPts val="300"/>
                        </a:spcAft>
                      </a:pPr>
                      <a:r>
                        <a:rPr lang="en-US" sz="1100">
                          <a:effectLst/>
                        </a:rPr>
                        <a:t>WP Milestone Titl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nchor="ctr"/>
                </a:tc>
                <a:tc>
                  <a:txBody>
                    <a:bodyPr/>
                    <a:lstStyle/>
                    <a:p>
                      <a:pPr algn="ctr">
                        <a:lnSpc>
                          <a:spcPct val="115000"/>
                        </a:lnSpc>
                        <a:spcBef>
                          <a:spcPts val="200"/>
                        </a:spcBef>
                        <a:spcAft>
                          <a:spcPts val="200"/>
                        </a:spcAft>
                      </a:pPr>
                      <a:r>
                        <a:rPr lang="en-US" sz="1100" dirty="0">
                          <a:effectLst/>
                        </a:rPr>
                        <a:t>Due Date</a:t>
                      </a:r>
                      <a:endParaRPr lang="de-DE" sz="1100" dirty="0">
                        <a:effectLst/>
                      </a:endParaRPr>
                    </a:p>
                    <a:p>
                      <a:pPr algn="ctr">
                        <a:lnSpc>
                          <a:spcPct val="115000"/>
                        </a:lnSpc>
                        <a:spcAft>
                          <a:spcPts val="300"/>
                        </a:spcAft>
                      </a:pPr>
                      <a:r>
                        <a:rPr lang="en-US" sz="1100" dirty="0">
                          <a:effectLst/>
                        </a:rPr>
                        <a:t>[mm/</a:t>
                      </a:r>
                      <a:r>
                        <a:rPr lang="en-US" sz="1100" dirty="0" err="1">
                          <a:effectLst/>
                        </a:rPr>
                        <a:t>yyyy</a:t>
                      </a:r>
                      <a:r>
                        <a:rPr lang="en-US" sz="1100" dirty="0">
                          <a:effectLst/>
                        </a:rPr>
                        <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814085178"/>
                  </a:ext>
                </a:extLst>
              </a:tr>
              <a:tr h="914871">
                <a:tc>
                  <a:txBody>
                    <a:bodyPr/>
                    <a:lstStyle/>
                    <a:p>
                      <a:pPr>
                        <a:lnSpc>
                          <a:spcPct val="115000"/>
                        </a:lnSpc>
                        <a:spcAft>
                          <a:spcPts val="300"/>
                        </a:spcAft>
                      </a:pPr>
                      <a:r>
                        <a:rPr lang="en-GB" sz="1100">
                          <a:effectLst/>
                        </a:rPr>
                        <a:t>WM8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Feasibility of advanced plasma-facing materials for DEMO, including prototype materials like W FGMs on steel (with WPBB) assessed. Connecting the assessment of their lifespan to testing conducted in facilities such as WEST, MAGNUM-PSI, GLADIS, and JUDITH. (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186754012"/>
                  </a:ext>
                </a:extLst>
              </a:tr>
              <a:tr h="729714">
                <a:tc>
                  <a:txBody>
                    <a:bodyPr/>
                    <a:lstStyle/>
                    <a:p>
                      <a:pPr>
                        <a:lnSpc>
                          <a:spcPct val="115000"/>
                        </a:lnSpc>
                        <a:spcAft>
                          <a:spcPts val="300"/>
                        </a:spcAft>
                      </a:pPr>
                      <a:r>
                        <a:rPr lang="en-GB" sz="1100">
                          <a:effectLst/>
                        </a:rPr>
                        <a:t>WM8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The damage and evolution of material structure on WEST components, as well as linear facilities, analysed. Further investigations into the physics of material recrystallization, including µ-CT studies. (ITER+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3244203224"/>
                  </a:ext>
                </a:extLst>
              </a:tr>
              <a:tr h="544556">
                <a:tc>
                  <a:txBody>
                    <a:bodyPr/>
                    <a:lstStyle/>
                    <a:p>
                      <a:pPr>
                        <a:lnSpc>
                          <a:spcPct val="115000"/>
                        </a:lnSpc>
                        <a:spcAft>
                          <a:spcPts val="300"/>
                        </a:spcAft>
                      </a:pPr>
                      <a:r>
                        <a:rPr lang="en-GB" sz="1100">
                          <a:effectLst/>
                        </a:rPr>
                        <a:t>WM8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High fluence experiments with transients on MAGNUM PSI executed to facilitate lifetime and component evolution for ITER and DEMO. (ITER+DEMO)</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31.12.2024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3359034183"/>
                  </a:ext>
                </a:extLst>
              </a:tr>
              <a:tr h="729714">
                <a:tc>
                  <a:txBody>
                    <a:bodyPr/>
                    <a:lstStyle/>
                    <a:p>
                      <a:pPr>
                        <a:lnSpc>
                          <a:spcPct val="115000"/>
                        </a:lnSpc>
                        <a:spcAft>
                          <a:spcPts val="300"/>
                        </a:spcAft>
                      </a:pPr>
                      <a:r>
                        <a:rPr lang="en-GB" sz="1100">
                          <a:effectLst/>
                        </a:rPr>
                        <a:t>WM8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SP 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a:effectLst/>
                        </a:rPr>
                        <a:t>Experimental studies on ITER relevant loads such as VDEs, related to new W-Wall PFCs executed and analysed. Accompanying studies utilizing modelling with e.g. Memento. (IT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tc>
                  <a:txBody>
                    <a:bodyPr/>
                    <a:lstStyle/>
                    <a:p>
                      <a:pPr>
                        <a:lnSpc>
                          <a:spcPct val="115000"/>
                        </a:lnSpc>
                        <a:spcAft>
                          <a:spcPts val="300"/>
                        </a:spcAft>
                      </a:pPr>
                      <a:r>
                        <a:rPr lang="en-GB" sz="1100" dirty="0">
                          <a:effectLst/>
                        </a:rPr>
                        <a:t>31.12.2024</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5866" marR="65866" marT="0" marB="0"/>
                </a:tc>
                <a:extLst>
                  <a:ext uri="{0D108BD9-81ED-4DB2-BD59-A6C34878D82A}">
                    <a16:rowId xmlns:a16="http://schemas.microsoft.com/office/drawing/2014/main" val="1909321991"/>
                  </a:ext>
                </a:extLst>
              </a:tr>
            </a:tbl>
          </a:graphicData>
        </a:graphic>
      </p:graphicFrame>
      <p:sp>
        <p:nvSpPr>
          <p:cNvPr id="6" name="Fußzeilenplatzhalter 3">
            <a:extLst>
              <a:ext uri="{FF2B5EF4-FFF2-40B4-BE49-F238E27FC236}">
                <a16:creationId xmlns:a16="http://schemas.microsoft.com/office/drawing/2014/main" id="{4ED4A2FA-38FC-827F-B972-EB10F42778A5}"/>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5</a:t>
            </a:fld>
            <a:endParaRPr lang="en-GB" dirty="0"/>
          </a:p>
        </p:txBody>
      </p:sp>
    </p:spTree>
    <p:extLst>
      <p:ext uri="{BB962C8B-B14F-4D97-AF65-F5344CB8AC3E}">
        <p14:creationId xmlns:p14="http://schemas.microsoft.com/office/powerpoint/2010/main" val="28325308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P A Tasks 2024</a:t>
            </a:r>
          </a:p>
        </p:txBody>
      </p:sp>
      <p:sp>
        <p:nvSpPr>
          <p:cNvPr id="5" name="Inhaltsplatzhalter 7">
            <a:extLst>
              <a:ext uri="{FF2B5EF4-FFF2-40B4-BE49-F238E27FC236}">
                <a16:creationId xmlns:a16="http://schemas.microsoft.com/office/drawing/2014/main" id="{1E24C8B4-04F5-BC43-ADD0-94EB61D92662}"/>
              </a:ext>
            </a:extLst>
          </p:cNvPr>
          <p:cNvSpPr>
            <a:spLocks noGrp="1"/>
          </p:cNvSpPr>
          <p:nvPr>
            <p:ph idx="1"/>
          </p:nvPr>
        </p:nvSpPr>
        <p:spPr>
          <a:xfrm>
            <a:off x="278606" y="2355726"/>
            <a:ext cx="8586788" cy="2267391"/>
          </a:xfrm>
        </p:spPr>
        <p:txBody>
          <a:bodyPr numCol="4">
            <a:normAutofit lnSpcReduction="10000"/>
          </a:bodyPr>
          <a:lstStyle/>
          <a:p>
            <a:pPr marL="0" indent="0">
              <a:buNone/>
            </a:pPr>
            <a:r>
              <a:rPr lang="de-DE" sz="1200" b="1" dirty="0"/>
              <a:t>SP A1</a:t>
            </a:r>
          </a:p>
          <a:p>
            <a:r>
              <a:rPr lang="de-DE" sz="1200" b="1" dirty="0" err="1"/>
              <a:t>Continuation</a:t>
            </a:r>
            <a:r>
              <a:rPr lang="de-DE" sz="1200" b="1" dirty="0"/>
              <a:t> </a:t>
            </a:r>
            <a:r>
              <a:rPr lang="de-DE" sz="1200" b="1" dirty="0" err="1"/>
              <a:t>of</a:t>
            </a:r>
            <a:r>
              <a:rPr lang="de-DE" sz="1200" b="1" dirty="0"/>
              <a:t> </a:t>
            </a:r>
            <a:r>
              <a:rPr lang="de-DE" sz="1200" b="1" dirty="0" err="1"/>
              <a:t>activities</a:t>
            </a:r>
            <a:endParaRPr lang="de-DE" sz="1200" b="1" dirty="0"/>
          </a:p>
          <a:p>
            <a:r>
              <a:rPr lang="de-DE" sz="1200" dirty="0"/>
              <a:t>Include KIT FGMs</a:t>
            </a:r>
          </a:p>
          <a:p>
            <a:r>
              <a:rPr lang="de-DE" sz="1200" dirty="0"/>
              <a:t>Include </a:t>
            </a:r>
            <a:r>
              <a:rPr lang="de-DE" sz="1200" dirty="0" err="1"/>
              <a:t>Pre-damage</a:t>
            </a:r>
            <a:r>
              <a:rPr lang="de-DE" sz="1200" dirty="0"/>
              <a:t> </a:t>
            </a:r>
            <a:r>
              <a:rPr lang="de-DE" sz="1200" dirty="0" err="1"/>
              <a:t>of</a:t>
            </a:r>
            <a:r>
              <a:rPr lang="de-DE" sz="1200" dirty="0"/>
              <a:t> W</a:t>
            </a:r>
          </a:p>
          <a:p>
            <a:r>
              <a:rPr lang="de-DE" sz="1200" dirty="0"/>
              <a:t>Lifetime </a:t>
            </a:r>
            <a:r>
              <a:rPr lang="de-DE" sz="1200" dirty="0" err="1"/>
              <a:t>assesment</a:t>
            </a:r>
            <a:endParaRPr lang="de-DE" sz="1200" dirty="0"/>
          </a:p>
          <a:p>
            <a:r>
              <a:rPr lang="de-DE" sz="1200" dirty="0">
                <a:highlight>
                  <a:srgbClr val="FFFF00"/>
                </a:highlight>
              </a:rPr>
              <a:t>Add VDE Damage ?</a:t>
            </a:r>
            <a:br>
              <a:rPr lang="de-DE" sz="1200" dirty="0"/>
            </a:br>
            <a:endParaRPr lang="de-DE" sz="1200" dirty="0"/>
          </a:p>
          <a:p>
            <a:endParaRPr lang="de-DE" sz="1200" dirty="0"/>
          </a:p>
          <a:p>
            <a:endParaRPr lang="de-DE" sz="1200" dirty="0"/>
          </a:p>
          <a:p>
            <a:endParaRPr lang="de-DE" sz="1200" dirty="0"/>
          </a:p>
          <a:p>
            <a:endParaRPr lang="de-DE" sz="1200" dirty="0"/>
          </a:p>
          <a:p>
            <a:pPr marL="0" indent="0">
              <a:buNone/>
            </a:pPr>
            <a:r>
              <a:rPr lang="de-DE" sz="1200" b="1" dirty="0"/>
              <a:t>SP A2</a:t>
            </a:r>
          </a:p>
          <a:p>
            <a:r>
              <a:rPr lang="de-DE" sz="1200" b="1" dirty="0" err="1"/>
              <a:t>Continuation</a:t>
            </a:r>
            <a:r>
              <a:rPr lang="de-DE" sz="1200" b="1" dirty="0"/>
              <a:t> </a:t>
            </a:r>
            <a:r>
              <a:rPr lang="de-DE" sz="1200" b="1" dirty="0" err="1"/>
              <a:t>of</a:t>
            </a:r>
            <a:r>
              <a:rPr lang="de-DE" sz="1200" b="1" dirty="0"/>
              <a:t> </a:t>
            </a:r>
            <a:r>
              <a:rPr lang="de-DE" sz="1200" b="1" dirty="0" err="1"/>
              <a:t>activities</a:t>
            </a:r>
            <a:endParaRPr lang="de-DE" sz="1200" b="1" dirty="0"/>
          </a:p>
          <a:p>
            <a:r>
              <a:rPr lang="de-DE" sz="1200" dirty="0" err="1"/>
              <a:t>Choose</a:t>
            </a:r>
            <a:r>
              <a:rPr lang="de-DE" sz="1200" dirty="0"/>
              <a:t> </a:t>
            </a:r>
            <a:r>
              <a:rPr lang="de-DE" sz="1200" dirty="0" err="1"/>
              <a:t>new</a:t>
            </a:r>
            <a:r>
              <a:rPr lang="de-DE" sz="1200" dirty="0"/>
              <a:t> Materials / </a:t>
            </a:r>
            <a:r>
              <a:rPr lang="de-DE" sz="1200" dirty="0" err="1"/>
              <a:t>Mockups</a:t>
            </a:r>
            <a:r>
              <a:rPr lang="de-DE" sz="1200" dirty="0"/>
              <a:t> </a:t>
            </a:r>
          </a:p>
          <a:p>
            <a:pPr lvl="1"/>
            <a:r>
              <a:rPr lang="de-DE" sz="1200" i="1" dirty="0"/>
              <a:t>PRD/MAT/DIV</a:t>
            </a:r>
          </a:p>
          <a:p>
            <a:pPr lvl="1"/>
            <a:r>
              <a:rPr lang="de-DE" sz="1200" i="1" dirty="0"/>
              <a:t>Slow </a:t>
            </a:r>
            <a:r>
              <a:rPr lang="de-DE" sz="1200" i="1" dirty="0" err="1"/>
              <a:t>transients</a:t>
            </a:r>
            <a:r>
              <a:rPr lang="de-DE" sz="1200" i="1" dirty="0"/>
              <a:t> + </a:t>
            </a:r>
            <a:r>
              <a:rPr lang="de-DE" sz="1200" i="1" dirty="0" err="1"/>
              <a:t>analysis</a:t>
            </a:r>
            <a:endParaRPr lang="de-DE" sz="1200" i="1" dirty="0"/>
          </a:p>
          <a:p>
            <a:pPr lvl="1"/>
            <a:endParaRPr lang="de-DE" sz="1200" i="1" dirty="0"/>
          </a:p>
          <a:p>
            <a:pPr lvl="2"/>
            <a:endParaRPr lang="de-DE" sz="1200" i="1" dirty="0"/>
          </a:p>
          <a:p>
            <a:pPr marL="914400" lvl="2" indent="0">
              <a:buNone/>
            </a:pPr>
            <a:endParaRPr lang="de-DE" sz="1200" i="1" dirty="0"/>
          </a:p>
          <a:p>
            <a:pPr marL="338138" lvl="2" indent="0">
              <a:buNone/>
            </a:pPr>
            <a:r>
              <a:rPr lang="de-DE" sz="1200" b="1" dirty="0"/>
              <a:t>SP A3</a:t>
            </a:r>
          </a:p>
          <a:p>
            <a:r>
              <a:rPr lang="de-DE" sz="1200" b="1" dirty="0" err="1"/>
              <a:t>Continuation</a:t>
            </a:r>
            <a:r>
              <a:rPr lang="de-DE" sz="1200" b="1" dirty="0"/>
              <a:t> </a:t>
            </a:r>
            <a:r>
              <a:rPr lang="de-DE" sz="1200" b="1" dirty="0" err="1"/>
              <a:t>of</a:t>
            </a:r>
            <a:r>
              <a:rPr lang="de-DE" sz="1200" b="1" dirty="0"/>
              <a:t> </a:t>
            </a:r>
            <a:r>
              <a:rPr lang="de-DE" sz="1200" b="1" dirty="0" err="1"/>
              <a:t>activities</a:t>
            </a:r>
            <a:endParaRPr lang="de-DE" sz="1200" b="1" dirty="0"/>
          </a:p>
          <a:p>
            <a:r>
              <a:rPr lang="de-DE" sz="1200" dirty="0"/>
              <a:t>New Material </a:t>
            </a:r>
            <a:r>
              <a:rPr lang="de-DE" sz="1200" dirty="0" err="1"/>
              <a:t>Types</a:t>
            </a:r>
            <a:r>
              <a:rPr lang="de-DE" sz="1200" dirty="0"/>
              <a:t> / Samples</a:t>
            </a:r>
          </a:p>
          <a:p>
            <a:r>
              <a:rPr lang="de-DE" sz="1200" dirty="0" err="1"/>
              <a:t>Synergistic</a:t>
            </a:r>
            <a:r>
              <a:rPr lang="de-DE" sz="1200" dirty="0"/>
              <a:t> Loads on SMART-W</a:t>
            </a:r>
          </a:p>
          <a:p>
            <a:endParaRPr lang="de-DE" sz="1200" dirty="0"/>
          </a:p>
          <a:p>
            <a:endParaRPr lang="de-DE" sz="1200" dirty="0"/>
          </a:p>
          <a:p>
            <a:endParaRPr lang="de-DE" sz="1200" dirty="0"/>
          </a:p>
          <a:p>
            <a:endParaRPr lang="de-DE" sz="1200" dirty="0"/>
          </a:p>
          <a:p>
            <a:pPr marL="0" indent="0">
              <a:buNone/>
            </a:pPr>
            <a:r>
              <a:rPr lang="de-DE" sz="1200" b="1" dirty="0"/>
              <a:t>SP A4</a:t>
            </a:r>
          </a:p>
          <a:p>
            <a:r>
              <a:rPr lang="de-DE" sz="1200" b="1" dirty="0" err="1"/>
              <a:t>Continuation</a:t>
            </a:r>
            <a:r>
              <a:rPr lang="de-DE" sz="1200" b="1" dirty="0"/>
              <a:t> </a:t>
            </a:r>
            <a:r>
              <a:rPr lang="de-DE" sz="1200" b="1" dirty="0" err="1"/>
              <a:t>of</a:t>
            </a:r>
            <a:r>
              <a:rPr lang="de-DE" sz="1200" b="1" dirty="0"/>
              <a:t> </a:t>
            </a:r>
            <a:r>
              <a:rPr lang="de-DE" sz="1200" b="1" dirty="0" err="1"/>
              <a:t>Activities</a:t>
            </a:r>
            <a:endParaRPr lang="de-DE" sz="1200" b="1" dirty="0"/>
          </a:p>
          <a:p>
            <a:r>
              <a:rPr lang="de-DE" sz="1200" dirty="0"/>
              <a:t>µm-  CT Analyse von </a:t>
            </a:r>
            <a:r>
              <a:rPr lang="de-DE" sz="1200" dirty="0" err="1"/>
              <a:t>Compositen</a:t>
            </a:r>
            <a:endParaRPr lang="de-DE" sz="1200" dirty="0"/>
          </a:p>
          <a:p>
            <a:r>
              <a:rPr lang="de-DE" sz="1200" dirty="0"/>
              <a:t>Further </a:t>
            </a:r>
            <a:r>
              <a:rPr lang="de-DE" sz="1200" dirty="0" err="1"/>
              <a:t>extension</a:t>
            </a:r>
            <a:r>
              <a:rPr lang="de-DE" sz="1200" dirty="0"/>
              <a:t> </a:t>
            </a:r>
            <a:r>
              <a:rPr lang="de-DE" sz="1200" dirty="0" err="1"/>
              <a:t>of</a:t>
            </a:r>
            <a:r>
              <a:rPr lang="de-DE" sz="1200" dirty="0"/>
              <a:t> </a:t>
            </a:r>
            <a:r>
              <a:rPr lang="de-DE" sz="1200" dirty="0" err="1"/>
              <a:t>Recrystallisation</a:t>
            </a:r>
            <a:r>
              <a:rPr lang="de-DE" sz="1200" dirty="0"/>
              <a:t> </a:t>
            </a:r>
            <a:r>
              <a:rPr lang="de-DE" sz="1200" dirty="0" err="1"/>
              <a:t>activities</a:t>
            </a:r>
            <a:r>
              <a:rPr lang="de-DE" sz="1200" dirty="0"/>
              <a:t> DTU.CEA.FZJ</a:t>
            </a:r>
          </a:p>
          <a:p>
            <a:endParaRPr lang="de-DE" sz="1200" dirty="0"/>
          </a:p>
        </p:txBody>
      </p:sp>
      <p:sp>
        <p:nvSpPr>
          <p:cNvPr id="6" name="Inhaltsplatzhalter 7">
            <a:extLst>
              <a:ext uri="{FF2B5EF4-FFF2-40B4-BE49-F238E27FC236}">
                <a16:creationId xmlns:a16="http://schemas.microsoft.com/office/drawing/2014/main" id="{FC509E05-4033-4945-BB16-6B189F6F8AF2}"/>
              </a:ext>
            </a:extLst>
          </p:cNvPr>
          <p:cNvSpPr txBox="1">
            <a:spLocks/>
          </p:cNvSpPr>
          <p:nvPr/>
        </p:nvSpPr>
        <p:spPr>
          <a:xfrm>
            <a:off x="278606" y="1200750"/>
            <a:ext cx="8586788" cy="1358950"/>
          </a:xfrm>
          <a:prstGeom prst="rect">
            <a:avLst/>
          </a:prstGeom>
        </p:spPr>
        <p:txBody>
          <a:bodyPr vert="horz" lIns="91440" tIns="45720" rIns="91440" bIns="45720" numCol="4" rtlCol="0">
            <a:normAutofit fontScale="77500" lnSpcReduction="20000"/>
          </a:bodyPr>
          <a:lstStyle>
            <a:lvl1pPr marL="342900" indent="-342900" algn="l" defTabSz="914400" rtl="0" eaLnBrk="1" latinLnBrk="0" hangingPunct="1">
              <a:spcBef>
                <a:spcPct val="20000"/>
              </a:spcBef>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Wingdings" panose="05000000000000000000" pitchFamily="2" charset="2"/>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 A1</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ynergistic Load Studies of Plasma-Facing Materials for ITER &amp; DEMO</a:t>
            </a:r>
            <a:r>
              <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br>
              <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 A2</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 Particle Fluence Exposures of Plasma-Facing Components for ITER</a:t>
            </a: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endPar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 A3</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vanced Materials under thermo-mechanical and plasma loads</a:t>
            </a: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de-DE"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 A4</a:t>
            </a:r>
          </a:p>
          <a:p>
            <a:pPr marL="0" marR="0" lvl="0" indent="0" algn="l" defTabSz="914400" rtl="0" eaLnBrk="1" fontAlgn="auto" latinLnBrk="0" hangingPunct="1">
              <a:lnSpc>
                <a:spcPct val="100000"/>
              </a:lnSpc>
              <a:spcBef>
                <a:spcPct val="20000"/>
              </a:spcBef>
              <a:spcAft>
                <a:spcPts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 Temperature performance of </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rmour</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terials: Recrystallization and Melting</a:t>
            </a:r>
            <a:endParaRPr kumimoji="0" lang="de-DE"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Fußzeilenplatzhalter 3">
            <a:extLst>
              <a:ext uri="{FF2B5EF4-FFF2-40B4-BE49-F238E27FC236}">
                <a16:creationId xmlns:a16="http://schemas.microsoft.com/office/drawing/2014/main" id="{E18EE972-095C-4BD3-5CFD-7215F5C3FB40}"/>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6</a:t>
            </a:fld>
            <a:endParaRPr lang="en-GB" dirty="0"/>
          </a:p>
        </p:txBody>
      </p:sp>
    </p:spTree>
    <p:extLst>
      <p:ext uri="{BB962C8B-B14F-4D97-AF65-F5344CB8AC3E}">
        <p14:creationId xmlns:p14="http://schemas.microsoft.com/office/powerpoint/2010/main" val="121671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091199-096E-7B02-FBAA-5002CCF083C3}"/>
              </a:ext>
            </a:extLst>
          </p:cNvPr>
          <p:cNvSpPr>
            <a:spLocks noGrp="1"/>
          </p:cNvSpPr>
          <p:nvPr>
            <p:ph type="title"/>
          </p:nvPr>
        </p:nvSpPr>
        <p:spPr/>
        <p:txBody>
          <a:bodyPr/>
          <a:lstStyle/>
          <a:p>
            <a:r>
              <a:rPr lang="en-GB" dirty="0"/>
              <a:t>Activity Sheets / Topics</a:t>
            </a:r>
          </a:p>
        </p:txBody>
      </p:sp>
      <p:sp>
        <p:nvSpPr>
          <p:cNvPr id="3" name="Inhaltsplatzhalter 2">
            <a:extLst>
              <a:ext uri="{FF2B5EF4-FFF2-40B4-BE49-F238E27FC236}">
                <a16:creationId xmlns:a16="http://schemas.microsoft.com/office/drawing/2014/main" id="{7D077AC4-99E9-68CC-4127-FFAB5F2DD990}"/>
              </a:ext>
            </a:extLst>
          </p:cNvPr>
          <p:cNvSpPr>
            <a:spLocks noGrp="1"/>
          </p:cNvSpPr>
          <p:nvPr>
            <p:ph idx="1"/>
          </p:nvPr>
        </p:nvSpPr>
        <p:spPr/>
        <p:txBody>
          <a:bodyPr/>
          <a:lstStyle/>
          <a:p>
            <a:r>
              <a:rPr lang="en-GB" dirty="0"/>
              <a:t>Minor Adaptions for 2024 </a:t>
            </a:r>
          </a:p>
          <a:p>
            <a:r>
              <a:rPr lang="en-GB" dirty="0"/>
              <a:t>Feedback from Deliverable owners already worked in</a:t>
            </a:r>
          </a:p>
          <a:p>
            <a:r>
              <a:rPr lang="en-GB" dirty="0"/>
              <a:t>Mostly Continuation of work</a:t>
            </a:r>
          </a:p>
          <a:p>
            <a:endParaRPr lang="en-GB" dirty="0"/>
          </a:p>
          <a:p>
            <a:r>
              <a:rPr lang="en-GB" dirty="0"/>
              <a:t>All information @</a:t>
            </a:r>
          </a:p>
          <a:p>
            <a:r>
              <a:rPr lang="en-GB" dirty="0"/>
              <a:t>https://</a:t>
            </a:r>
            <a:r>
              <a:rPr lang="en-GB" dirty="0" err="1"/>
              <a:t>idm.euro-fusion.org</a:t>
            </a:r>
            <a:r>
              <a:rPr lang="en-GB" dirty="0"/>
              <a:t>/</a:t>
            </a:r>
            <a:r>
              <a:rPr lang="en-GB" dirty="0" err="1"/>
              <a:t>default.aspx?uid</a:t>
            </a:r>
            <a:r>
              <a:rPr lang="en-GB" dirty="0"/>
              <a:t>=2PBXPU</a:t>
            </a:r>
          </a:p>
        </p:txBody>
      </p:sp>
      <p:sp>
        <p:nvSpPr>
          <p:cNvPr id="7" name="Fußzeilenplatzhalter 3">
            <a:extLst>
              <a:ext uri="{FF2B5EF4-FFF2-40B4-BE49-F238E27FC236}">
                <a16:creationId xmlns:a16="http://schemas.microsoft.com/office/drawing/2014/main" id="{CE7F2FA3-86D4-5D55-0D8F-331C3A679E92}"/>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7</a:t>
            </a:fld>
            <a:endParaRPr lang="en-GB" dirty="0"/>
          </a:p>
        </p:txBody>
      </p:sp>
    </p:spTree>
    <p:extLst>
      <p:ext uri="{BB962C8B-B14F-4D97-AF65-F5344CB8AC3E}">
        <p14:creationId xmlns:p14="http://schemas.microsoft.com/office/powerpoint/2010/main" val="1521785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2800" dirty="0"/>
              <a:t>WP PWIE: SPA 1</a:t>
            </a:r>
            <a:endParaRPr lang="en-US" sz="2000" dirty="0"/>
          </a:p>
        </p:txBody>
      </p:sp>
      <p:sp>
        <p:nvSpPr>
          <p:cNvPr id="3" name="Subtitle 2"/>
          <p:cNvSpPr>
            <a:spLocks noGrp="1"/>
          </p:cNvSpPr>
          <p:nvPr>
            <p:ph type="subTitle" idx="1"/>
          </p:nvPr>
        </p:nvSpPr>
        <p:spPr>
          <a:xfrm>
            <a:off x="395536" y="3219822"/>
            <a:ext cx="8064896" cy="864096"/>
          </a:xfrm>
        </p:spPr>
        <p:txBody>
          <a:bodyPr>
            <a:normAutofit/>
          </a:bodyPr>
          <a:lstStyle/>
          <a:p>
            <a:r>
              <a:rPr lang="en-US" dirty="0">
                <a:solidFill>
                  <a:srgbClr val="E3E3E3"/>
                </a:solidFill>
              </a:rPr>
              <a:t>Planning</a:t>
            </a:r>
            <a:endParaRPr lang="en-US" dirty="0"/>
          </a:p>
        </p:txBody>
      </p:sp>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4499036"/>
            <a:ext cx="1296144" cy="376970"/>
          </a:xfrm>
          <a:prstGeom prst="rect">
            <a:avLst/>
          </a:prstGeom>
        </p:spPr>
      </p:pic>
    </p:spTree>
    <p:extLst>
      <p:ext uri="{BB962C8B-B14F-4D97-AF65-F5344CB8AC3E}">
        <p14:creationId xmlns:p14="http://schemas.microsoft.com/office/powerpoint/2010/main" val="38669911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638112-A946-CADF-FDF1-F3DD416C08CC}"/>
              </a:ext>
            </a:extLst>
          </p:cNvPr>
          <p:cNvSpPr>
            <a:spLocks noGrp="1"/>
          </p:cNvSpPr>
          <p:nvPr>
            <p:ph type="title"/>
          </p:nvPr>
        </p:nvSpPr>
        <p:spPr/>
        <p:txBody>
          <a:bodyPr/>
          <a:lstStyle/>
          <a:p>
            <a:r>
              <a:rPr lang="en-GB" dirty="0"/>
              <a:t>SPA 1</a:t>
            </a:r>
          </a:p>
        </p:txBody>
      </p:sp>
      <p:pic>
        <p:nvPicPr>
          <p:cNvPr id="6" name="Grafik 5">
            <a:extLst>
              <a:ext uri="{FF2B5EF4-FFF2-40B4-BE49-F238E27FC236}">
                <a16:creationId xmlns:a16="http://schemas.microsoft.com/office/drawing/2014/main" id="{F40CB96C-8024-EB88-2809-CA152CFD04C3}"/>
              </a:ext>
            </a:extLst>
          </p:cNvPr>
          <p:cNvPicPr>
            <a:picLocks noChangeAspect="1"/>
          </p:cNvPicPr>
          <p:nvPr/>
        </p:nvPicPr>
        <p:blipFill rotWithShape="1">
          <a:blip r:embed="rId2"/>
          <a:srcRect l="4604" t="3789" r="2751" b="1781"/>
          <a:stretch/>
        </p:blipFill>
        <p:spPr>
          <a:xfrm>
            <a:off x="5148064" y="2067694"/>
            <a:ext cx="3886064" cy="1826451"/>
          </a:xfrm>
          <a:prstGeom prst="rect">
            <a:avLst/>
          </a:prstGeom>
        </p:spPr>
      </p:pic>
      <p:sp>
        <p:nvSpPr>
          <p:cNvPr id="8" name="Textfeld 7">
            <a:extLst>
              <a:ext uri="{FF2B5EF4-FFF2-40B4-BE49-F238E27FC236}">
                <a16:creationId xmlns:a16="http://schemas.microsoft.com/office/drawing/2014/main" id="{C785D113-9C99-96CA-A696-F750319EC538}"/>
              </a:ext>
            </a:extLst>
          </p:cNvPr>
          <p:cNvSpPr txBox="1"/>
          <p:nvPr/>
        </p:nvSpPr>
        <p:spPr>
          <a:xfrm>
            <a:off x="251520" y="669446"/>
            <a:ext cx="4663980" cy="646331"/>
          </a:xfrm>
          <a:prstGeom prst="rect">
            <a:avLst/>
          </a:prstGeom>
          <a:noFill/>
        </p:spPr>
        <p:txBody>
          <a:bodyPr wrap="square">
            <a:spAutoFit/>
          </a:bodyPr>
          <a:lstStyle/>
          <a:p>
            <a:r>
              <a:rPr lang="en-US" sz="1800" dirty="0">
                <a:solidFill>
                  <a:srgbClr val="000000"/>
                </a:solidFill>
                <a:effectLst/>
                <a:latin typeface="Calibri" panose="020F0502020204030204" pitchFamily="34" charset="0"/>
                <a:ea typeface="SimSun" panose="02010600030101010101" pitchFamily="2" charset="-122"/>
              </a:rPr>
              <a:t>SP A.1 Synergistic Load Studies of Plasma-Facing Materials for ITER &amp; DEMO</a:t>
            </a:r>
            <a:r>
              <a:rPr lang="de-DE" dirty="0">
                <a:effectLst/>
              </a:rPr>
              <a:t> </a:t>
            </a:r>
            <a:endParaRPr lang="en-GB" dirty="0"/>
          </a:p>
        </p:txBody>
      </p:sp>
      <p:graphicFrame>
        <p:nvGraphicFramePr>
          <p:cNvPr id="9" name="Tabelle 8">
            <a:extLst>
              <a:ext uri="{FF2B5EF4-FFF2-40B4-BE49-F238E27FC236}">
                <a16:creationId xmlns:a16="http://schemas.microsoft.com/office/drawing/2014/main" id="{160DD26D-D07A-7D3F-1C9D-7231B78883B9}"/>
              </a:ext>
            </a:extLst>
          </p:cNvPr>
          <p:cNvGraphicFramePr>
            <a:graphicFrameLocks noGrp="1"/>
          </p:cNvGraphicFramePr>
          <p:nvPr/>
        </p:nvGraphicFramePr>
        <p:xfrm>
          <a:off x="312305" y="1315777"/>
          <a:ext cx="4752528" cy="1639126"/>
        </p:xfrm>
        <a:graphic>
          <a:graphicData uri="http://schemas.openxmlformats.org/drawingml/2006/table">
            <a:tbl>
              <a:tblPr firstRow="1" firstCol="1" bandRow="1">
                <a:tableStyleId>{5C22544A-7EE6-4342-B048-85BDC9FD1C3A}</a:tableStyleId>
              </a:tblPr>
              <a:tblGrid>
                <a:gridCol w="1042479">
                  <a:extLst>
                    <a:ext uri="{9D8B030D-6E8A-4147-A177-3AD203B41FA5}">
                      <a16:colId xmlns:a16="http://schemas.microsoft.com/office/drawing/2014/main" val="537130830"/>
                    </a:ext>
                  </a:extLst>
                </a:gridCol>
                <a:gridCol w="677584">
                  <a:extLst>
                    <a:ext uri="{9D8B030D-6E8A-4147-A177-3AD203B41FA5}">
                      <a16:colId xmlns:a16="http://schemas.microsoft.com/office/drawing/2014/main" val="1227338500"/>
                    </a:ext>
                  </a:extLst>
                </a:gridCol>
                <a:gridCol w="742010">
                  <a:extLst>
                    <a:ext uri="{9D8B030D-6E8A-4147-A177-3AD203B41FA5}">
                      <a16:colId xmlns:a16="http://schemas.microsoft.com/office/drawing/2014/main" val="3133546627"/>
                    </a:ext>
                  </a:extLst>
                </a:gridCol>
                <a:gridCol w="2290455">
                  <a:extLst>
                    <a:ext uri="{9D8B030D-6E8A-4147-A177-3AD203B41FA5}">
                      <a16:colId xmlns:a16="http://schemas.microsoft.com/office/drawing/2014/main" val="1207400484"/>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Ow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P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liverable (Team)</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832486685"/>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 Wirtz</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D001 (M. Gago, D. </a:t>
                      </a:r>
                      <a:r>
                        <a:rPr lang="en-US" sz="1100" spc="-15" dirty="0" err="1">
                          <a:effectLst/>
                        </a:rPr>
                        <a:t>Dorow-Gerspach</a:t>
                      </a:r>
                      <a:r>
                        <a:rPr lang="en-US" sz="1100" spc="-15" dirty="0">
                          <a:effectLst/>
                        </a:rPr>
                        <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73171739"/>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GB" sz="1100">
                          <a:effectLst/>
                        </a:rPr>
                        <a:t>D002, (T. Morgan)</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10342846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P. Tabare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6</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de-DE" sz="1100">
                          <a:effectLst/>
                        </a:rPr>
                        <a:t>D003 (D. Alegr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86008634"/>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H. Greun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de-DE"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de-DE"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Aft>
                          <a:spcPts val="600"/>
                        </a:spcAft>
                      </a:pPr>
                      <a:r>
                        <a:rPr lang="de-DE" sz="1100">
                          <a:effectLst/>
                        </a:rPr>
                        <a:t>D004 (H. Greuner, H. Maier, J.Riesc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696284245"/>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I. Garkusha</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KIP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5715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dirty="0">
                          <a:effectLst/>
                        </a:rPr>
                        <a:t>D005 (I. </a:t>
                      </a:r>
                      <a:r>
                        <a:rPr lang="en-US" sz="1100" dirty="0" err="1">
                          <a:effectLst/>
                        </a:rPr>
                        <a:t>Garkusha</a:t>
                      </a:r>
                      <a:r>
                        <a:rPr lang="en-US" sz="1100" dirty="0">
                          <a:effectLst/>
                        </a:rPr>
                        <a:t>)</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469983808"/>
                  </a:ext>
                </a:extLst>
              </a:tr>
              <a:tr h="22034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Total</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gn="r">
                        <a:lnSpc>
                          <a:spcPct val="115000"/>
                        </a:lnSpc>
                        <a:spcBef>
                          <a:spcPts val="240"/>
                        </a:spcBef>
                        <a:spcAft>
                          <a:spcPts val="240"/>
                        </a:spcAft>
                        <a:tabLst>
                          <a:tab pos="-914400" algn="l"/>
                          <a:tab pos="457200" algn="l"/>
                          <a:tab pos="1029970" algn="l"/>
                          <a:tab pos="1371600" algn="l"/>
                        </a:tabLst>
                      </a:pPr>
                      <a:r>
                        <a:rPr lang="en-US" sz="1100" spc="-15">
                          <a:effectLst/>
                        </a:rPr>
                        <a:t>3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 </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023361002"/>
                  </a:ext>
                </a:extLst>
              </a:tr>
            </a:tbl>
          </a:graphicData>
        </a:graphic>
      </p:graphicFrame>
      <p:graphicFrame>
        <p:nvGraphicFramePr>
          <p:cNvPr id="3" name="Tabelle 2">
            <a:extLst>
              <a:ext uri="{FF2B5EF4-FFF2-40B4-BE49-F238E27FC236}">
                <a16:creationId xmlns:a16="http://schemas.microsoft.com/office/drawing/2014/main" id="{DB8F8DC4-6BBD-DF5C-83DE-3F30D699BDCF}"/>
              </a:ext>
            </a:extLst>
          </p:cNvPr>
          <p:cNvGraphicFramePr>
            <a:graphicFrameLocks noGrp="1"/>
          </p:cNvGraphicFramePr>
          <p:nvPr/>
        </p:nvGraphicFramePr>
        <p:xfrm>
          <a:off x="335215" y="3096878"/>
          <a:ext cx="4752529" cy="1826451"/>
        </p:xfrm>
        <a:graphic>
          <a:graphicData uri="http://schemas.openxmlformats.org/drawingml/2006/table">
            <a:tbl>
              <a:tblPr firstRow="1" firstCol="1" bandRow="1">
                <a:tableStyleId>{5C22544A-7EE6-4342-B048-85BDC9FD1C3A}</a:tableStyleId>
              </a:tblPr>
              <a:tblGrid>
                <a:gridCol w="886968">
                  <a:extLst>
                    <a:ext uri="{9D8B030D-6E8A-4147-A177-3AD203B41FA5}">
                      <a16:colId xmlns:a16="http://schemas.microsoft.com/office/drawing/2014/main" val="1563264106"/>
                    </a:ext>
                  </a:extLst>
                </a:gridCol>
                <a:gridCol w="833095">
                  <a:extLst>
                    <a:ext uri="{9D8B030D-6E8A-4147-A177-3AD203B41FA5}">
                      <a16:colId xmlns:a16="http://schemas.microsoft.com/office/drawing/2014/main" val="3889548192"/>
                    </a:ext>
                  </a:extLst>
                </a:gridCol>
                <a:gridCol w="742010">
                  <a:extLst>
                    <a:ext uri="{9D8B030D-6E8A-4147-A177-3AD203B41FA5}">
                      <a16:colId xmlns:a16="http://schemas.microsoft.com/office/drawing/2014/main" val="2809899009"/>
                    </a:ext>
                  </a:extLst>
                </a:gridCol>
                <a:gridCol w="2290456">
                  <a:extLst>
                    <a:ext uri="{9D8B030D-6E8A-4147-A177-3AD203B41FA5}">
                      <a16:colId xmlns:a16="http://schemas.microsoft.com/office/drawing/2014/main" val="1129825224"/>
                    </a:ext>
                  </a:extLst>
                </a:gridCol>
              </a:tblGrid>
              <a:tr h="19875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evice</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Beneficiary</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ay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  Related Deliverable</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123317350"/>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PSI-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dirty="0">
                          <a:effectLst/>
                        </a:rPr>
                        <a:t>FZJ</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7</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030762727"/>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JUDITH</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D001</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3175967828"/>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Accelerato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spc="-15">
                          <a:effectLst/>
                        </a:rPr>
                        <a:t>FZJ</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3</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001 jointly with SPA 3/SPA 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491996022"/>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GLADIS</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PG</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5</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4</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655715656"/>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MAGNUM-PSI</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5 </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1360951987"/>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UPP</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DIFFER</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1</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a:effectLst/>
                        </a:rPr>
                        <a:t>D002</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2637041315"/>
                  </a:ext>
                </a:extLst>
              </a:tr>
              <a:tr h="208915">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OL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a:effectLst/>
                        </a:rPr>
                        <a:t>CIEMAT</a:t>
                      </a:r>
                      <a:endParaRPr lang="de-DE" sz="110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tabLst>
                          <a:tab pos="-914400" algn="l"/>
                          <a:tab pos="457200" algn="l"/>
                          <a:tab pos="1029970" algn="l"/>
                          <a:tab pos="1371600" algn="l"/>
                        </a:tabLst>
                      </a:pPr>
                      <a:r>
                        <a:rPr lang="en-US" sz="1100" spc="-15" dirty="0">
                          <a:effectLst/>
                        </a:rPr>
                        <a:t>10</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tc>
                  <a:txBody>
                    <a:bodyPr/>
                    <a:lstStyle/>
                    <a:p>
                      <a:pPr>
                        <a:lnSpc>
                          <a:spcPct val="115000"/>
                        </a:lnSpc>
                        <a:spcBef>
                          <a:spcPts val="240"/>
                        </a:spcBef>
                        <a:spcAft>
                          <a:spcPts val="240"/>
                        </a:spcAft>
                      </a:pPr>
                      <a:r>
                        <a:rPr lang="en-US" sz="1100" dirty="0">
                          <a:effectLst/>
                        </a:rPr>
                        <a:t>D003</a:t>
                      </a:r>
                      <a:endParaRPr lang="de-DE" sz="1100" dirty="0">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tc>
                <a:extLst>
                  <a:ext uri="{0D108BD9-81ED-4DB2-BD59-A6C34878D82A}">
                    <a16:rowId xmlns:a16="http://schemas.microsoft.com/office/drawing/2014/main" val="719583578"/>
                  </a:ext>
                </a:extLst>
              </a:tr>
            </a:tbl>
          </a:graphicData>
        </a:graphic>
      </p:graphicFrame>
      <p:sp>
        <p:nvSpPr>
          <p:cNvPr id="4" name="Fußzeilenplatzhalter 3">
            <a:extLst>
              <a:ext uri="{FF2B5EF4-FFF2-40B4-BE49-F238E27FC236}">
                <a16:creationId xmlns:a16="http://schemas.microsoft.com/office/drawing/2014/main" id="{BC79F531-D061-7F1C-BA0E-E43713B35CAB}"/>
              </a:ext>
            </a:extLst>
          </p:cNvPr>
          <p:cNvSpPr>
            <a:spLocks noGrp="1"/>
          </p:cNvSpPr>
          <p:nvPr>
            <p:ph type="ftr" sz="quarter" idx="11"/>
          </p:nvPr>
        </p:nvSpPr>
        <p:spPr>
          <a:xfrm>
            <a:off x="467544" y="4908928"/>
            <a:ext cx="8240228" cy="201104"/>
          </a:xfrm>
        </p:spPr>
        <p:txBody>
          <a:bodyPr/>
          <a:lstStyle/>
          <a:p>
            <a:pPr algn="r"/>
            <a:r>
              <a:rPr lang="en-GB" dirty="0"/>
              <a:t>Jan W. Coenen</a:t>
            </a:r>
            <a:r>
              <a:rPr lang="en-GB" dirty="0">
                <a:solidFill>
                  <a:srgbClr val="FF0000"/>
                </a:solidFill>
              </a:rPr>
              <a:t> </a:t>
            </a:r>
            <a:r>
              <a:rPr lang="en-GB" dirty="0"/>
              <a:t>| WPPWIE Helsinki Meeting  | 08.04.2024 | Page </a:t>
            </a:r>
            <a:fld id="{6A6D9FA1-99C7-4910-8E32-B85D378B0060}" type="slidenum">
              <a:rPr lang="en-GB" smtClean="0"/>
              <a:pPr algn="r"/>
              <a:t>9</a:t>
            </a:fld>
            <a:endParaRPr lang="en-GB" dirty="0"/>
          </a:p>
        </p:txBody>
      </p:sp>
      <p:sp>
        <p:nvSpPr>
          <p:cNvPr id="5" name="Textfeld 4">
            <a:extLst>
              <a:ext uri="{FF2B5EF4-FFF2-40B4-BE49-F238E27FC236}">
                <a16:creationId xmlns:a16="http://schemas.microsoft.com/office/drawing/2014/main" id="{DD141714-F19C-7B6F-908C-E404D9195D9C}"/>
              </a:ext>
            </a:extLst>
          </p:cNvPr>
          <p:cNvSpPr txBox="1"/>
          <p:nvPr/>
        </p:nvSpPr>
        <p:spPr>
          <a:xfrm>
            <a:off x="6660232" y="1052911"/>
            <a:ext cx="1500347" cy="369332"/>
          </a:xfrm>
          <a:prstGeom prst="rect">
            <a:avLst/>
          </a:prstGeom>
          <a:noFill/>
        </p:spPr>
        <p:txBody>
          <a:bodyPr wrap="none" rtlCol="0">
            <a:spAutoFit/>
          </a:bodyPr>
          <a:lstStyle/>
          <a:p>
            <a:r>
              <a:rPr lang="en-GB" dirty="0"/>
              <a:t>Talk by R. Neu</a:t>
            </a:r>
          </a:p>
        </p:txBody>
      </p:sp>
    </p:spTree>
    <p:extLst>
      <p:ext uri="{BB962C8B-B14F-4D97-AF65-F5344CB8AC3E}">
        <p14:creationId xmlns:p14="http://schemas.microsoft.com/office/powerpoint/2010/main" val="9808794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CEA 2023">
      <a:dk1>
        <a:srgbClr val="262626"/>
      </a:dk1>
      <a:lt1>
        <a:sysClr val="window" lastClr="FFFFFF"/>
      </a:lt1>
      <a:dk2>
        <a:srgbClr val="E50019"/>
      </a:dk2>
      <a:lt2>
        <a:srgbClr val="FFFFFF"/>
      </a:lt2>
      <a:accent1>
        <a:srgbClr val="3E4A83"/>
      </a:accent1>
      <a:accent2>
        <a:srgbClr val="7E9CBB"/>
      </a:accent2>
      <a:accent3>
        <a:srgbClr val="FFCD31"/>
      </a:accent3>
      <a:accent4>
        <a:srgbClr val="DA837B"/>
      </a:accent4>
      <a:accent5>
        <a:srgbClr val="0093A7"/>
      </a:accent5>
      <a:accent6>
        <a:srgbClr val="BD987A"/>
      </a:accent6>
      <a:hlink>
        <a:srgbClr val="E50019"/>
      </a:hlink>
      <a:folHlink>
        <a:srgbClr val="E50019"/>
      </a:folHlink>
    </a:clrScheme>
    <a:fontScheme name="CEA">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144000" tIns="108000" rIns="144000" bIns="144000" rtlCol="0" anchor="ctr">
        <a:spAutoFit/>
      </a:bodyP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PT-CEA final-V5.potx" id="{8CEE0DFF-1C06-4716-850E-804B5EEE4D0F}" vid="{3A69881D-C6CB-41F7-A0C0-1CB4B9E5CE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miter/>
        </a:ln>
        <a:ln w="25400" cap="flat" cmpd="sng" algn="ctr">
          <a:solidFill>
            <a:schemeClr val="phClr"/>
          </a:solidFill>
          <a:prstDash val="solid"/>
          <a:miter/>
        </a:ln>
        <a:ln w="38100" cap="flat" cmpd="sng" algn="ctr">
          <a:solidFill>
            <a:schemeClr val="phClr"/>
          </a:solidFill>
          <a:prstDash val="solid"/>
          <a:miter/>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Differ Petrol">
  <a:themeElements>
    <a:clrScheme name="Differ">
      <a:dk1>
        <a:srgbClr val="A0A0A0"/>
      </a:dk1>
      <a:lt1>
        <a:srgbClr val="FFFFFF"/>
      </a:lt1>
      <a:dk2>
        <a:srgbClr val="42677F"/>
      </a:dk2>
      <a:lt2>
        <a:srgbClr val="000000"/>
      </a:lt2>
      <a:accent1>
        <a:srgbClr val="E68200"/>
      </a:accent1>
      <a:accent2>
        <a:srgbClr val="5EB305"/>
      </a:accent2>
      <a:accent3>
        <a:srgbClr val="458588"/>
      </a:accent3>
      <a:accent4>
        <a:srgbClr val="3957A3"/>
      </a:accent4>
      <a:accent5>
        <a:srgbClr val="42677F"/>
      </a:accent5>
      <a:accent6>
        <a:srgbClr val="898989"/>
      </a:accent6>
      <a:hlink>
        <a:srgbClr val="7C69DD"/>
      </a:hlink>
      <a:folHlink>
        <a:srgbClr val="5B43D5"/>
      </a:folHlink>
    </a:clrScheme>
    <a:fontScheme name="Differ - Open Sans">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dirty="0" smtClean="0">
            <a:solidFill>
              <a:schemeClr val="tx2"/>
            </a:solidFill>
          </a:defRPr>
        </a:defPPr>
      </a:lstStyle>
    </a:txDef>
  </a:objectDefaults>
  <a:extraClrSchemeLst/>
  <a:extLst>
    <a:ext uri="{05A4C25C-085E-4340-85A3-A5531E510DB2}">
      <thm15:themeFamily xmlns:thm15="http://schemas.microsoft.com/office/thememl/2012/main" name="DIFFER presentation template (16x9).pptx" id="{B0668280-C83F-4A90-8857-1461B4EB7C68}" vid="{D01E0467-1066-4A4D-BB6B-6944BDD76E7E}"/>
    </a:ext>
  </a:extLst>
</a:theme>
</file>

<file path=ppt/theme/theme8.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9.xml><?xml version="1.0" encoding="utf-8"?>
<a:theme xmlns:a="http://schemas.openxmlformats.org/drawingml/2006/main" name="Jülich">
  <a:themeElements>
    <a:clrScheme name="CD-Farben Forschungszentrum Jülich">
      <a:dk1>
        <a:srgbClr val="000000"/>
      </a:dk1>
      <a:lt1>
        <a:srgbClr val="FFFFFF"/>
      </a:lt1>
      <a:dk2>
        <a:srgbClr val="023D6B"/>
      </a:dk2>
      <a:lt2>
        <a:srgbClr val="EBEBEB"/>
      </a:lt2>
      <a:accent1>
        <a:srgbClr val="ADBDE3"/>
      </a:accent1>
      <a:accent2>
        <a:srgbClr val="EB5F73"/>
      </a:accent2>
      <a:accent3>
        <a:srgbClr val="AF82B9"/>
      </a:accent3>
      <a:accent4>
        <a:srgbClr val="FAB45A"/>
      </a:accent4>
      <a:accent5>
        <a:srgbClr val="FAEB5A"/>
      </a:accent5>
      <a:accent6>
        <a:srgbClr val="B9D25F"/>
      </a:accent6>
      <a:hlink>
        <a:srgbClr val="ADBDE3"/>
      </a:hlink>
      <a:folHlink>
        <a:srgbClr val="023D6B"/>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5000"/>
          </a:lnSpc>
          <a:defRPr sz="2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lnSpc>
            <a:spcPct val="95000"/>
          </a:lnSpc>
          <a:defRPr sz="2400" dirty="0" err="1" smtClean="0"/>
        </a:defPPr>
      </a:lstStyle>
    </a:txDef>
  </a:objectDefaults>
  <a:extraClrSchemeLst/>
  <a:extLst>
    <a:ext uri="{05A4C25C-085E-4340-85A3-A5531E510DB2}">
      <thm15:themeFamily xmlns:thm15="http://schemas.microsoft.com/office/thememl/2012/main" name="Jülich_PowerPoint_16x9.potx" id="{96E3BAF4-763A-4252-96EB-429A37E76C9B}" vid="{FC15072B-1A6B-4630-9ABB-3D2D56FD5EF8}"/>
    </a:ext>
  </a:extLst>
</a:theme>
</file>

<file path=docProps/app.xml><?xml version="1.0" encoding="utf-8"?>
<Properties xmlns="http://schemas.openxmlformats.org/officeDocument/2006/extended-properties" xmlns:vt="http://schemas.openxmlformats.org/officeDocument/2006/docPropsVTypes">
  <Template/>
  <TotalTime>0</TotalTime>
  <Words>4033</Words>
  <Application>Microsoft Macintosh PowerPoint</Application>
  <PresentationFormat>Bildschirmpräsentation (16:9)</PresentationFormat>
  <Paragraphs>706</Paragraphs>
  <Slides>38</Slides>
  <Notes>17</Notes>
  <HiddenSlides>0</HiddenSlides>
  <MMClips>0</MMClips>
  <ScaleCrop>false</ScaleCrop>
  <HeadingPairs>
    <vt:vector size="8" baseType="variant">
      <vt:variant>
        <vt:lpstr>Verwendete Schriftarten</vt:lpstr>
      </vt:variant>
      <vt:variant>
        <vt:i4>12</vt:i4>
      </vt:variant>
      <vt:variant>
        <vt:lpstr>Design</vt:lpstr>
      </vt:variant>
      <vt:variant>
        <vt:i4>9</vt:i4>
      </vt:variant>
      <vt:variant>
        <vt:lpstr>Eingebettete OLE-Server</vt:lpstr>
      </vt:variant>
      <vt:variant>
        <vt:i4>1</vt:i4>
      </vt:variant>
      <vt:variant>
        <vt:lpstr>Folientitel</vt:lpstr>
      </vt:variant>
      <vt:variant>
        <vt:i4>38</vt:i4>
      </vt:variant>
    </vt:vector>
  </HeadingPairs>
  <TitlesOfParts>
    <vt:vector size="60" baseType="lpstr">
      <vt:lpstr>SimSun</vt:lpstr>
      <vt:lpstr>.SF NS Symbols Regular</vt:lpstr>
      <vt:lpstr>Arial</vt:lpstr>
      <vt:lpstr>Arial Black</vt:lpstr>
      <vt:lpstr>Arial Narrow</vt:lpstr>
      <vt:lpstr>Bookman Old Style</vt:lpstr>
      <vt:lpstr>Calibri</vt:lpstr>
      <vt:lpstr>Courier New</vt:lpstr>
      <vt:lpstr>Open Sans</vt:lpstr>
      <vt:lpstr>Symbol</vt:lpstr>
      <vt:lpstr>Wingdings</vt:lpstr>
      <vt:lpstr>Wingdings 3</vt:lpstr>
      <vt:lpstr>Office</vt:lpstr>
      <vt:lpstr>Thème Office</vt:lpstr>
      <vt:lpstr>Office Theme</vt:lpstr>
      <vt:lpstr>1_Office</vt:lpstr>
      <vt:lpstr>1_Office Theme</vt:lpstr>
      <vt:lpstr>2_Office</vt:lpstr>
      <vt:lpstr>Differ Petrol</vt:lpstr>
      <vt:lpstr>IPP</vt:lpstr>
      <vt:lpstr>Jülich</vt:lpstr>
      <vt:lpstr>think-cell Folie</vt:lpstr>
      <vt:lpstr>WP PWIE: SPA reporting 2023</vt:lpstr>
      <vt:lpstr>SPA Report - 2023</vt:lpstr>
      <vt:lpstr>Milestones 2023</vt:lpstr>
      <vt:lpstr>WP PWIE: SPA Overview</vt:lpstr>
      <vt:lpstr>Milestones 2024</vt:lpstr>
      <vt:lpstr>SP A Tasks 2024</vt:lpstr>
      <vt:lpstr>Activity Sheets / Topics</vt:lpstr>
      <vt:lpstr>WP PWIE: SPA 1</vt:lpstr>
      <vt:lpstr>SPA 1</vt:lpstr>
      <vt:lpstr>PowerPoint-Präsentation</vt:lpstr>
      <vt:lpstr>WP PWIE: SPA 2</vt:lpstr>
      <vt:lpstr>SPA 2</vt:lpstr>
      <vt:lpstr>Fatigue cracking and creep evolution of W samples and W-monoblocks exposed to strike point sweeping</vt:lpstr>
      <vt:lpstr>WP PWIE: SPA 3</vt:lpstr>
      <vt:lpstr>SPA 3</vt:lpstr>
      <vt:lpstr>What is the GIRAFFE</vt:lpstr>
      <vt:lpstr>What is the GIRAFFE</vt:lpstr>
      <vt:lpstr>What is the GIRAFFE</vt:lpstr>
      <vt:lpstr>Planned experiments</vt:lpstr>
      <vt:lpstr>Influence of mechanical stress on deuterium retention</vt:lpstr>
      <vt:lpstr>Influence of mechanical stress on the production of irradiation damage</vt:lpstr>
      <vt:lpstr>Influence of carbon on the mechanical properties of tungsten</vt:lpstr>
      <vt:lpstr>Further plans for which there is not yet a detailed schedule</vt:lpstr>
      <vt:lpstr>Low Pressure Plasma Spraying of Tungsten</vt:lpstr>
      <vt:lpstr>WP PWIE: SPA 4</vt:lpstr>
      <vt:lpstr>SPA 4</vt:lpstr>
      <vt:lpstr>SP A.4 High Temperature performance of Armour Materials: Recrystallization and Melting (2024) DTU</vt:lpstr>
      <vt:lpstr>SP A.4 High Temperature performance of Armour Materials: Recrystallization and Melting (2024) DTU</vt:lpstr>
      <vt:lpstr>Plans for 2024</vt:lpstr>
      <vt:lpstr>Assessment of plasma impact on W material properties linked to ITER relevant PFUs: WEST ITER-Like divertor recrystallization (MB24, WERI002)</vt:lpstr>
      <vt:lpstr>MEMENTO + GEANT4  STATUS/UPDATES</vt:lpstr>
      <vt:lpstr>MEMENTO + GEANT4  PLANS</vt:lpstr>
      <vt:lpstr>KIPT SPA 1,3,4</vt:lpstr>
      <vt:lpstr> Experimental facilities: QSPA Kh-50; QSPA-M</vt:lpstr>
      <vt:lpstr>PWIE SP A: A1; A.3; A.4; plan of work within KIPT in  2024 </vt:lpstr>
      <vt:lpstr>Overview</vt:lpstr>
      <vt:lpstr>Milestones 2024</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ezinse</dc:creator>
  <cp:lastModifiedBy>Coenen, Jan Willem</cp:lastModifiedBy>
  <cp:revision>216</cp:revision>
  <cp:lastPrinted>2014-10-16T14:51:28Z</cp:lastPrinted>
  <dcterms:created xsi:type="dcterms:W3CDTF">2020-10-16T13:52:18Z</dcterms:created>
  <dcterms:modified xsi:type="dcterms:W3CDTF">2024-04-10T04:44:57Z</dcterms:modified>
</cp:coreProperties>
</file>